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notesSlides/notesSlide1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00" r:id="rId1"/>
    <p:sldMasterId id="2147483806" r:id="rId2"/>
  </p:sldMasterIdLst>
  <p:notesMasterIdLst>
    <p:notesMasterId r:id="rId19"/>
  </p:notesMasterIdLst>
  <p:handoutMasterIdLst>
    <p:handoutMasterId r:id="rId20"/>
  </p:handoutMasterIdLst>
  <p:sldIdLst>
    <p:sldId id="742" r:id="rId3"/>
    <p:sldId id="665" r:id="rId4"/>
    <p:sldId id="797" r:id="rId5"/>
    <p:sldId id="796" r:id="rId6"/>
    <p:sldId id="782" r:id="rId7"/>
    <p:sldId id="799" r:id="rId8"/>
    <p:sldId id="800" r:id="rId9"/>
    <p:sldId id="746" r:id="rId10"/>
    <p:sldId id="723" r:id="rId11"/>
    <p:sldId id="790" r:id="rId12"/>
    <p:sldId id="786" r:id="rId13"/>
    <p:sldId id="779" r:id="rId14"/>
    <p:sldId id="787" r:id="rId15"/>
    <p:sldId id="791" r:id="rId16"/>
    <p:sldId id="685" r:id="rId17"/>
    <p:sldId id="784" r:id="rId18"/>
  </p:sldIdLst>
  <p:sldSz cx="9144000" cy="5143500" type="screen16x9"/>
  <p:notesSz cx="9872663" cy="6742113"/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Opener" id="{73242337-DDD6-405C-84F2-461C5DEB2484}">
          <p14:sldIdLst>
            <p14:sldId id="742"/>
            <p14:sldId id="665"/>
            <p14:sldId id="797"/>
            <p14:sldId id="796"/>
            <p14:sldId id="782"/>
            <p14:sldId id="799"/>
            <p14:sldId id="800"/>
            <p14:sldId id="746"/>
            <p14:sldId id="723"/>
            <p14:sldId id="790"/>
            <p14:sldId id="786"/>
            <p14:sldId id="779"/>
            <p14:sldId id="787"/>
            <p14:sldId id="791"/>
            <p14:sldId id="685"/>
          </p14:sldIdLst>
        </p14:section>
        <p14:section name="The end" id="{6726A59A-BD25-4704-90A6-BA728A474683}">
          <p14:sldIdLst>
            <p14:sldId id="78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074" userDrawn="1">
          <p15:clr>
            <a:srgbClr val="A4A3A4"/>
          </p15:clr>
        </p15:guide>
        <p15:guide id="2" pos="295" userDrawn="1">
          <p15:clr>
            <a:srgbClr val="A4A3A4"/>
          </p15:clr>
        </p15:guide>
        <p15:guide id="3" orient="horz" pos="1620" userDrawn="1">
          <p15:clr>
            <a:srgbClr val="A4A3A4"/>
          </p15:clr>
        </p15:guide>
        <p15:guide id="4" pos="2880" userDrawn="1">
          <p15:clr>
            <a:srgbClr val="A4A3A4"/>
          </p15:clr>
        </p15:guide>
        <p15:guide id="5" orient="horz" pos="1575" userDrawn="1">
          <p15:clr>
            <a:srgbClr val="A4A3A4"/>
          </p15:clr>
        </p15:guide>
        <p15:guide id="6" orient="horz" pos="1212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acek Pytel" initials="JP" lastIdx="4" clrIdx="0"/>
  <p:cmAuthor id="1" name="Łukasz Mazanek" initials="ŁM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3591A"/>
    <a:srgbClr val="008E40"/>
    <a:srgbClr val="2F129A"/>
    <a:srgbClr val="2A2AA8"/>
    <a:srgbClr val="6699FF"/>
    <a:srgbClr val="FF6161"/>
    <a:srgbClr val="FF8181"/>
    <a:srgbClr val="DF8E3D"/>
    <a:srgbClr val="4747D1"/>
    <a:srgbClr val="2FE8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Styl pośredni 2 — Ak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C4B1156A-380E-4F78-BDF5-A606A8083BF9}" styleName="Styl pośredni 4 — Ak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Styl pośredni 3 — Ak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E25E649-3F16-4E02-A733-19D2CDBF48F0}" styleName="Styl pośredni 3 — Ak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Styl jasny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069" autoAdjust="0"/>
    <p:restoredTop sz="82105" autoAdjust="0"/>
  </p:normalViewPr>
  <p:slideViewPr>
    <p:cSldViewPr>
      <p:cViewPr varScale="1">
        <p:scale>
          <a:sx n="119" d="100"/>
          <a:sy n="119" d="100"/>
        </p:scale>
        <p:origin x="576" y="84"/>
      </p:cViewPr>
      <p:guideLst>
        <p:guide orient="horz" pos="2074"/>
        <p:guide pos="295"/>
        <p:guide orient="horz" pos="1620"/>
        <p:guide pos="2880"/>
        <p:guide orient="horz" pos="1575"/>
        <p:guide orient="horz" pos="121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commentAuthors" Target="commentAuthor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944916162598391E-2"/>
          <c:y val="0"/>
          <c:w val="0.93908188070334186"/>
          <c:h val="0.8598216377094802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Obroty inwestycje'!$B$5</c:f>
              <c:strCache>
                <c:ptCount val="1"/>
                <c:pt idx="0">
                  <c:v>Value of production and services</c:v>
                </c:pt>
              </c:strCache>
            </c:strRef>
          </c:tx>
          <c:spPr>
            <a:solidFill>
              <a:sysClr val="window" lastClr="FFFFFF">
                <a:lumMod val="50000"/>
              </a:sysClr>
            </a:solidFill>
            <a:ln>
              <a:noFill/>
            </a:ln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2000" b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alibri" panose="020F0502020204030204" pitchFamily="34" charset="0"/>
                    <a:cs typeface="Arial" panose="020B0604020202020204" pitchFamily="34" charset="0"/>
                  </a:defRPr>
                </a:pPr>
                <a:endParaRPr lang="pl-PL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Obroty inwestycje'!$D$4:$E$4</c:f>
              <c:strCache>
                <c:ptCount val="2"/>
                <c:pt idx="0">
                  <c:v>2016</c:v>
                </c:pt>
                <c:pt idx="1">
                  <c:v>Plan 2019</c:v>
                </c:pt>
              </c:strCache>
            </c:strRef>
          </c:cat>
          <c:val>
            <c:numRef>
              <c:f>'Obroty inwestycje'!$D$5:$E$5</c:f>
              <c:numCache>
                <c:formatCode>#,##0</c:formatCode>
                <c:ptCount val="2"/>
                <c:pt idx="0">
                  <c:v>15.2</c:v>
                </c:pt>
                <c:pt idx="1">
                  <c:v>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BE3-4C92-ABEE-62187EC140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9"/>
        <c:axId val="103514880"/>
        <c:axId val="103516416"/>
      </c:barChart>
      <c:catAx>
        <c:axId val="1035148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200" b="1">
                <a:latin typeface="Calibri" panose="020F0502020204030204" pitchFamily="34" charset="0"/>
                <a:cs typeface="Arial" panose="020B0604020202020204" pitchFamily="34" charset="0"/>
              </a:defRPr>
            </a:pPr>
            <a:endParaRPr lang="pl-PL"/>
          </a:p>
        </c:txPr>
        <c:crossAx val="103516416"/>
        <c:crosses val="autoZero"/>
        <c:auto val="1"/>
        <c:lblAlgn val="ctr"/>
        <c:lblOffset val="100"/>
        <c:noMultiLvlLbl val="0"/>
      </c:catAx>
      <c:valAx>
        <c:axId val="103516416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one"/>
        <c:crossAx val="10351488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2.3543400993623367E-2"/>
          <c:y val="0.10024013143346672"/>
          <c:w val="0.54356157928282944"/>
          <c:h val="0.22855319992334139"/>
        </c:manualLayout>
      </c:layout>
      <c:overlay val="0"/>
      <c:txPr>
        <a:bodyPr/>
        <a:lstStyle/>
        <a:p>
          <a:pPr>
            <a:defRPr sz="1200" b="1">
              <a:latin typeface="Calibri" panose="020F0502020204030204" pitchFamily="34" charset="0"/>
            </a:defRPr>
          </a:pPr>
          <a:endParaRPr lang="pl-PL"/>
        </a:p>
      </c:txPr>
    </c:legend>
    <c:plotVisOnly val="1"/>
    <c:dispBlanksAs val="gap"/>
    <c:showDLblsOverMax val="0"/>
  </c:chart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pl-PL"/>
    </a:p>
  </c:txPr>
  <c:externalData r:id="rId2">
    <c:autoUpdate val="0"/>
  </c:externalData>
  <c:userShapes r:id="rId3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B4933B4-82DC-41AF-95B6-2A6CC69B538D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24FE2A90-5380-4939-9F39-76E6279985C3}">
      <dgm:prSet phldrT="[Tekst]" custT="1"/>
      <dgm:spPr>
        <a:solidFill>
          <a:srgbClr val="C00000"/>
        </a:solidFill>
      </dgm:spPr>
      <dgm:t>
        <a:bodyPr/>
        <a:lstStyle/>
        <a:p>
          <a:pPr algn="ctr" rtl="0"/>
          <a:r>
            <a:rPr lang="en-GB" sz="1600" b="1" i="0" u="none" baseline="0" dirty="0">
              <a:latin typeface="Calibri" panose="020F0502020204030204" pitchFamily="34" charset="0"/>
            </a:rPr>
            <a:t>Design</a:t>
          </a:r>
        </a:p>
      </dgm:t>
    </dgm:pt>
    <dgm:pt modelId="{FAB8C683-5903-45B6-933E-C8C7FF2D9299}" type="parTrans" cxnId="{98FF057E-7D1F-4ECE-821B-5C11B418F430}">
      <dgm:prSet/>
      <dgm:spPr/>
      <dgm:t>
        <a:bodyPr/>
        <a:lstStyle/>
        <a:p>
          <a:pPr algn="ctr"/>
          <a:endParaRPr lang="en-GB">
            <a:latin typeface="Calibri" panose="020F0502020204030204" pitchFamily="34" charset="0"/>
          </a:endParaRPr>
        </a:p>
      </dgm:t>
    </dgm:pt>
    <dgm:pt modelId="{052C22A4-96DA-4DAE-AA3B-6EFAEF9EAABD}" type="sibTrans" cxnId="{98FF057E-7D1F-4ECE-821B-5C11B418F430}">
      <dgm:prSet/>
      <dgm:spPr/>
      <dgm:t>
        <a:bodyPr/>
        <a:lstStyle/>
        <a:p>
          <a:pPr algn="ctr"/>
          <a:endParaRPr lang="en-GB">
            <a:latin typeface="Calibri" panose="020F0502020204030204" pitchFamily="34" charset="0"/>
          </a:endParaRPr>
        </a:p>
      </dgm:t>
    </dgm:pt>
    <dgm:pt modelId="{0AD40472-FEA7-48A0-B751-63D6E6634876}">
      <dgm:prSet phldrT="[Tekst]" custT="1"/>
      <dgm:spPr>
        <a:solidFill>
          <a:srgbClr val="C00000"/>
        </a:solidFill>
      </dgm:spPr>
      <dgm:t>
        <a:bodyPr/>
        <a:lstStyle/>
        <a:p>
          <a:pPr algn="ctr" rtl="0"/>
          <a:r>
            <a:rPr lang="en-GB" sz="1600" b="1" i="0" u="none" baseline="0" dirty="0">
              <a:latin typeface="Calibri" panose="020F0502020204030204" pitchFamily="34" charset="0"/>
            </a:rPr>
            <a:t>Construction and research</a:t>
          </a:r>
        </a:p>
      </dgm:t>
    </dgm:pt>
    <dgm:pt modelId="{97C4703B-0D68-4403-9AF8-B2534245F9DC}" type="parTrans" cxnId="{A3CE57B4-8329-47BD-949F-FD26872F1062}">
      <dgm:prSet/>
      <dgm:spPr/>
      <dgm:t>
        <a:bodyPr/>
        <a:lstStyle/>
        <a:p>
          <a:pPr algn="ctr"/>
          <a:endParaRPr lang="en-GB">
            <a:latin typeface="Calibri" panose="020F0502020204030204" pitchFamily="34" charset="0"/>
          </a:endParaRPr>
        </a:p>
      </dgm:t>
    </dgm:pt>
    <dgm:pt modelId="{1BA6E02E-7001-4975-A4D8-8096F9F51D5C}" type="sibTrans" cxnId="{A3CE57B4-8329-47BD-949F-FD26872F1062}">
      <dgm:prSet/>
      <dgm:spPr/>
      <dgm:t>
        <a:bodyPr/>
        <a:lstStyle/>
        <a:p>
          <a:pPr algn="ctr"/>
          <a:endParaRPr lang="en-GB">
            <a:latin typeface="Calibri" panose="020F0502020204030204" pitchFamily="34" charset="0"/>
          </a:endParaRPr>
        </a:p>
      </dgm:t>
    </dgm:pt>
    <dgm:pt modelId="{CBC8CCD4-F884-492B-924E-CA2F5D553A28}">
      <dgm:prSet phldrT="[Tekst]" custT="1"/>
      <dgm:spPr>
        <a:solidFill>
          <a:srgbClr val="C00000"/>
        </a:solidFill>
      </dgm:spPr>
      <dgm:t>
        <a:bodyPr/>
        <a:lstStyle/>
        <a:p>
          <a:pPr algn="ctr" rtl="0"/>
          <a:r>
            <a:rPr lang="en-GB" sz="1600" b="1" i="0" u="none" baseline="0" dirty="0">
              <a:latin typeface="Calibri" panose="020F0502020204030204" pitchFamily="34" charset="0"/>
            </a:rPr>
            <a:t>Delivery</a:t>
          </a:r>
        </a:p>
      </dgm:t>
    </dgm:pt>
    <dgm:pt modelId="{4C8152BA-DE2A-4A0F-9972-4DC73A804118}" type="parTrans" cxnId="{857BEC0D-7BD6-468D-AC45-C42EA17E9CA1}">
      <dgm:prSet/>
      <dgm:spPr/>
      <dgm:t>
        <a:bodyPr/>
        <a:lstStyle/>
        <a:p>
          <a:pPr algn="ctr"/>
          <a:endParaRPr lang="en-GB">
            <a:latin typeface="Calibri" panose="020F0502020204030204" pitchFamily="34" charset="0"/>
          </a:endParaRPr>
        </a:p>
      </dgm:t>
    </dgm:pt>
    <dgm:pt modelId="{1A42D37D-FBE1-470F-8B95-5E9031481AE4}" type="sibTrans" cxnId="{857BEC0D-7BD6-468D-AC45-C42EA17E9CA1}">
      <dgm:prSet/>
      <dgm:spPr/>
      <dgm:t>
        <a:bodyPr/>
        <a:lstStyle/>
        <a:p>
          <a:pPr algn="ctr"/>
          <a:endParaRPr lang="en-GB">
            <a:latin typeface="Calibri" panose="020F0502020204030204" pitchFamily="34" charset="0"/>
          </a:endParaRPr>
        </a:p>
      </dgm:t>
    </dgm:pt>
    <dgm:pt modelId="{E72CFBD6-08E5-4547-950E-B65A980D87AA}">
      <dgm:prSet custT="1"/>
      <dgm:spPr>
        <a:solidFill>
          <a:srgbClr val="C00000"/>
        </a:solidFill>
      </dgm:spPr>
      <dgm:t>
        <a:bodyPr/>
        <a:lstStyle/>
        <a:p>
          <a:pPr algn="ctr" rtl="0"/>
          <a:r>
            <a:rPr lang="en-GB" sz="1600" b="1" i="0" u="none" baseline="0">
              <a:latin typeface="Calibri" panose="020F0502020204030204" pitchFamily="34" charset="0"/>
            </a:rPr>
            <a:t>Service</a:t>
          </a:r>
        </a:p>
      </dgm:t>
    </dgm:pt>
    <dgm:pt modelId="{4D117002-D42B-47EE-A441-7E1361C334BE}" type="parTrans" cxnId="{C3420607-8244-4D8C-998E-EC9B9B7EA862}">
      <dgm:prSet/>
      <dgm:spPr/>
      <dgm:t>
        <a:bodyPr/>
        <a:lstStyle/>
        <a:p>
          <a:pPr algn="ctr"/>
          <a:endParaRPr lang="en-GB">
            <a:latin typeface="Calibri" panose="020F0502020204030204" pitchFamily="34" charset="0"/>
          </a:endParaRPr>
        </a:p>
      </dgm:t>
    </dgm:pt>
    <dgm:pt modelId="{14AE3494-3A19-44BB-B394-990BE7047C03}" type="sibTrans" cxnId="{C3420607-8244-4D8C-998E-EC9B9B7EA862}">
      <dgm:prSet/>
      <dgm:spPr/>
      <dgm:t>
        <a:bodyPr/>
        <a:lstStyle/>
        <a:p>
          <a:pPr algn="ctr"/>
          <a:endParaRPr lang="en-GB">
            <a:latin typeface="Calibri" panose="020F0502020204030204" pitchFamily="34" charset="0"/>
          </a:endParaRPr>
        </a:p>
      </dgm:t>
    </dgm:pt>
    <dgm:pt modelId="{2C0C7C29-B540-4F7E-9CED-F6E3AAE1975B}" type="pres">
      <dgm:prSet presAssocID="{BB4933B4-82DC-41AF-95B6-2A6CC69B538D}" presName="CompostProcess" presStyleCnt="0">
        <dgm:presLayoutVars>
          <dgm:dir/>
          <dgm:resizeHandles val="exact"/>
        </dgm:presLayoutVars>
      </dgm:prSet>
      <dgm:spPr/>
    </dgm:pt>
    <dgm:pt modelId="{5998EFE4-9592-42E8-9424-46F80CC04019}" type="pres">
      <dgm:prSet presAssocID="{BB4933B4-82DC-41AF-95B6-2A6CC69B538D}" presName="arrow" presStyleLbl="bgShp" presStyleIdx="0" presStyleCnt="1"/>
      <dgm:spPr>
        <a:solidFill>
          <a:schemeClr val="tx1">
            <a:lumMod val="50000"/>
            <a:lumOff val="50000"/>
          </a:schemeClr>
        </a:solidFill>
      </dgm:spPr>
    </dgm:pt>
    <dgm:pt modelId="{F0169FA8-D790-454C-9E6A-A9F9755C49C0}" type="pres">
      <dgm:prSet presAssocID="{BB4933B4-82DC-41AF-95B6-2A6CC69B538D}" presName="linearProcess" presStyleCnt="0"/>
      <dgm:spPr/>
    </dgm:pt>
    <dgm:pt modelId="{70EBCE68-7E87-47B2-876B-04912D7EF708}" type="pres">
      <dgm:prSet presAssocID="{24FE2A90-5380-4939-9F39-76E6279985C3}" presName="textNode" presStyleLbl="node1" presStyleIdx="0" presStyleCnt="4">
        <dgm:presLayoutVars>
          <dgm:bulletEnabled val="1"/>
        </dgm:presLayoutVars>
      </dgm:prSet>
      <dgm:spPr/>
    </dgm:pt>
    <dgm:pt modelId="{48491FBE-9030-4745-8439-9B1530E13B73}" type="pres">
      <dgm:prSet presAssocID="{052C22A4-96DA-4DAE-AA3B-6EFAEF9EAABD}" presName="sibTrans" presStyleCnt="0"/>
      <dgm:spPr/>
    </dgm:pt>
    <dgm:pt modelId="{B647C933-9132-46E3-8806-62144F2E9FD0}" type="pres">
      <dgm:prSet presAssocID="{0AD40472-FEA7-48A0-B751-63D6E6634876}" presName="textNode" presStyleLbl="node1" presStyleIdx="1" presStyleCnt="4" custScaleX="158980">
        <dgm:presLayoutVars>
          <dgm:bulletEnabled val="1"/>
        </dgm:presLayoutVars>
      </dgm:prSet>
      <dgm:spPr/>
    </dgm:pt>
    <dgm:pt modelId="{B71A73B1-A5E6-42DB-A9B3-3C56E9487E77}" type="pres">
      <dgm:prSet presAssocID="{1BA6E02E-7001-4975-A4D8-8096F9F51D5C}" presName="sibTrans" presStyleCnt="0"/>
      <dgm:spPr/>
    </dgm:pt>
    <dgm:pt modelId="{E2A1E0EC-86D7-48AA-BA80-83FFDEC1A363}" type="pres">
      <dgm:prSet presAssocID="{CBC8CCD4-F884-492B-924E-CA2F5D553A28}" presName="textNode" presStyleLbl="node1" presStyleIdx="2" presStyleCnt="4">
        <dgm:presLayoutVars>
          <dgm:bulletEnabled val="1"/>
        </dgm:presLayoutVars>
      </dgm:prSet>
      <dgm:spPr/>
    </dgm:pt>
    <dgm:pt modelId="{D616D4F7-71ED-4173-A495-34E7A16E2FEA}" type="pres">
      <dgm:prSet presAssocID="{1A42D37D-FBE1-470F-8B95-5E9031481AE4}" presName="sibTrans" presStyleCnt="0"/>
      <dgm:spPr/>
    </dgm:pt>
    <dgm:pt modelId="{796418EA-7602-40FD-87F1-E0018F33D2CA}" type="pres">
      <dgm:prSet presAssocID="{E72CFBD6-08E5-4547-950E-B65A980D87AA}" presName="textNode" presStyleLbl="node1" presStyleIdx="3" presStyleCnt="4">
        <dgm:presLayoutVars>
          <dgm:bulletEnabled val="1"/>
        </dgm:presLayoutVars>
      </dgm:prSet>
      <dgm:spPr/>
    </dgm:pt>
  </dgm:ptLst>
  <dgm:cxnLst>
    <dgm:cxn modelId="{C3420607-8244-4D8C-998E-EC9B9B7EA862}" srcId="{BB4933B4-82DC-41AF-95B6-2A6CC69B538D}" destId="{E72CFBD6-08E5-4547-950E-B65A980D87AA}" srcOrd="3" destOrd="0" parTransId="{4D117002-D42B-47EE-A441-7E1361C334BE}" sibTransId="{14AE3494-3A19-44BB-B394-990BE7047C03}"/>
    <dgm:cxn modelId="{857BEC0D-7BD6-468D-AC45-C42EA17E9CA1}" srcId="{BB4933B4-82DC-41AF-95B6-2A6CC69B538D}" destId="{CBC8CCD4-F884-492B-924E-CA2F5D553A28}" srcOrd="2" destOrd="0" parTransId="{4C8152BA-DE2A-4A0F-9972-4DC73A804118}" sibTransId="{1A42D37D-FBE1-470F-8B95-5E9031481AE4}"/>
    <dgm:cxn modelId="{4698D67B-5897-4C21-BEC4-0EF2D9913AC0}" type="presOf" srcId="{CBC8CCD4-F884-492B-924E-CA2F5D553A28}" destId="{E2A1E0EC-86D7-48AA-BA80-83FFDEC1A363}" srcOrd="0" destOrd="0" presId="urn:microsoft.com/office/officeart/2005/8/layout/hProcess9"/>
    <dgm:cxn modelId="{98FF057E-7D1F-4ECE-821B-5C11B418F430}" srcId="{BB4933B4-82DC-41AF-95B6-2A6CC69B538D}" destId="{24FE2A90-5380-4939-9F39-76E6279985C3}" srcOrd="0" destOrd="0" parTransId="{FAB8C683-5903-45B6-933E-C8C7FF2D9299}" sibTransId="{052C22A4-96DA-4DAE-AA3B-6EFAEF9EAABD}"/>
    <dgm:cxn modelId="{64A4BAA8-0CF2-4771-B406-003F3A44652B}" type="presOf" srcId="{BB4933B4-82DC-41AF-95B6-2A6CC69B538D}" destId="{2C0C7C29-B540-4F7E-9CED-F6E3AAE1975B}" srcOrd="0" destOrd="0" presId="urn:microsoft.com/office/officeart/2005/8/layout/hProcess9"/>
    <dgm:cxn modelId="{A3CE57B4-8329-47BD-949F-FD26872F1062}" srcId="{BB4933B4-82DC-41AF-95B6-2A6CC69B538D}" destId="{0AD40472-FEA7-48A0-B751-63D6E6634876}" srcOrd="1" destOrd="0" parTransId="{97C4703B-0D68-4403-9AF8-B2534245F9DC}" sibTransId="{1BA6E02E-7001-4975-A4D8-8096F9F51D5C}"/>
    <dgm:cxn modelId="{FCD6C2B8-4A85-48B4-9E9D-3791E07E74CF}" type="presOf" srcId="{0AD40472-FEA7-48A0-B751-63D6E6634876}" destId="{B647C933-9132-46E3-8806-62144F2E9FD0}" srcOrd="0" destOrd="0" presId="urn:microsoft.com/office/officeart/2005/8/layout/hProcess9"/>
    <dgm:cxn modelId="{332506C4-C4B0-454D-A1C2-4F359C3F4E1A}" type="presOf" srcId="{E72CFBD6-08E5-4547-950E-B65A980D87AA}" destId="{796418EA-7602-40FD-87F1-E0018F33D2CA}" srcOrd="0" destOrd="0" presId="urn:microsoft.com/office/officeart/2005/8/layout/hProcess9"/>
    <dgm:cxn modelId="{8765AAF1-6252-4A8D-9777-D2A1E5553C08}" type="presOf" srcId="{24FE2A90-5380-4939-9F39-76E6279985C3}" destId="{70EBCE68-7E87-47B2-876B-04912D7EF708}" srcOrd="0" destOrd="0" presId="urn:microsoft.com/office/officeart/2005/8/layout/hProcess9"/>
    <dgm:cxn modelId="{3888C52D-CAFC-44F9-A987-399AA9216E86}" type="presParOf" srcId="{2C0C7C29-B540-4F7E-9CED-F6E3AAE1975B}" destId="{5998EFE4-9592-42E8-9424-46F80CC04019}" srcOrd="0" destOrd="0" presId="urn:microsoft.com/office/officeart/2005/8/layout/hProcess9"/>
    <dgm:cxn modelId="{92466EAF-FA93-44AF-A92C-7EF53E63CD83}" type="presParOf" srcId="{2C0C7C29-B540-4F7E-9CED-F6E3AAE1975B}" destId="{F0169FA8-D790-454C-9E6A-A9F9755C49C0}" srcOrd="1" destOrd="0" presId="urn:microsoft.com/office/officeart/2005/8/layout/hProcess9"/>
    <dgm:cxn modelId="{D907D6BA-8268-40EB-A8A2-6B453379375F}" type="presParOf" srcId="{F0169FA8-D790-454C-9E6A-A9F9755C49C0}" destId="{70EBCE68-7E87-47B2-876B-04912D7EF708}" srcOrd="0" destOrd="0" presId="urn:microsoft.com/office/officeart/2005/8/layout/hProcess9"/>
    <dgm:cxn modelId="{008F94A4-F51B-40D0-A90D-0CE9775DFA46}" type="presParOf" srcId="{F0169FA8-D790-454C-9E6A-A9F9755C49C0}" destId="{48491FBE-9030-4745-8439-9B1530E13B73}" srcOrd="1" destOrd="0" presId="urn:microsoft.com/office/officeart/2005/8/layout/hProcess9"/>
    <dgm:cxn modelId="{9DA22521-9EB0-436C-AD7C-A03C2D5D602E}" type="presParOf" srcId="{F0169FA8-D790-454C-9E6A-A9F9755C49C0}" destId="{B647C933-9132-46E3-8806-62144F2E9FD0}" srcOrd="2" destOrd="0" presId="urn:microsoft.com/office/officeart/2005/8/layout/hProcess9"/>
    <dgm:cxn modelId="{BF61C26E-4C95-4234-846D-FDBBDD68E0DF}" type="presParOf" srcId="{F0169FA8-D790-454C-9E6A-A9F9755C49C0}" destId="{B71A73B1-A5E6-42DB-A9B3-3C56E9487E77}" srcOrd="3" destOrd="0" presId="urn:microsoft.com/office/officeart/2005/8/layout/hProcess9"/>
    <dgm:cxn modelId="{7EEC8C29-DB8C-40F4-B9DA-D096C15E4DDB}" type="presParOf" srcId="{F0169FA8-D790-454C-9E6A-A9F9755C49C0}" destId="{E2A1E0EC-86D7-48AA-BA80-83FFDEC1A363}" srcOrd="4" destOrd="0" presId="urn:microsoft.com/office/officeart/2005/8/layout/hProcess9"/>
    <dgm:cxn modelId="{6D3C3655-ED0C-4110-B094-E47D37D523D7}" type="presParOf" srcId="{F0169FA8-D790-454C-9E6A-A9F9755C49C0}" destId="{D616D4F7-71ED-4173-A495-34E7A16E2FEA}" srcOrd="5" destOrd="0" presId="urn:microsoft.com/office/officeart/2005/8/layout/hProcess9"/>
    <dgm:cxn modelId="{790E2AFF-36A6-4F90-9FE0-61044742457D}" type="presParOf" srcId="{F0169FA8-D790-454C-9E6A-A9F9755C49C0}" destId="{796418EA-7602-40FD-87F1-E0018F33D2CA}" srcOrd="6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64F3199-C073-40CB-949A-E77DC8ACAAED}" type="doc">
      <dgm:prSet loTypeId="urn:microsoft.com/office/officeart/2005/8/layout/vList6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05188AFD-A258-47E8-A1CA-6C50EF66B377}">
      <dgm:prSet phldrT="[Tekst]" custT="1"/>
      <dgm:spPr>
        <a:solidFill>
          <a:srgbClr val="C00000"/>
        </a:solidFill>
      </dgm:spPr>
      <dgm:t>
        <a:bodyPr/>
        <a:lstStyle/>
        <a:p>
          <a:pPr algn="ctr" rtl="0"/>
          <a:r>
            <a:rPr lang="pl-PL" sz="1600" b="1" i="0" u="none" baseline="0" dirty="0">
              <a:latin typeface="Calibri" panose="020F0502020204030204" pitchFamily="34" charset="0"/>
            </a:rPr>
            <a:t>New a</a:t>
          </a:r>
          <a:r>
            <a:rPr lang="en-GB" sz="1600" b="1" i="0" u="none" baseline="0" dirty="0" err="1">
              <a:latin typeface="Calibri" panose="020F0502020204030204" pitchFamily="34" charset="0"/>
            </a:rPr>
            <a:t>ctivities</a:t>
          </a:r>
          <a:r>
            <a:rPr lang="en-GB" sz="1600" b="1" i="0" u="none" baseline="0" dirty="0">
              <a:latin typeface="Calibri" panose="020F0502020204030204" pitchFamily="34" charset="0"/>
            </a:rPr>
            <a:t>:</a:t>
          </a:r>
        </a:p>
      </dgm:t>
    </dgm:pt>
    <dgm:pt modelId="{2F5B9138-55BF-4C39-89CE-C68EB84EE483}" type="parTrans" cxnId="{6765522A-72D4-4CE6-8904-9F49FBD2AC0B}">
      <dgm:prSet/>
      <dgm:spPr/>
      <dgm:t>
        <a:bodyPr/>
        <a:lstStyle/>
        <a:p>
          <a:endParaRPr lang="en-GB" sz="1600"/>
        </a:p>
      </dgm:t>
    </dgm:pt>
    <dgm:pt modelId="{E2828FE8-7966-4ACB-9C36-F9B0E0A91FA4}" type="sibTrans" cxnId="{6765522A-72D4-4CE6-8904-9F49FBD2AC0B}">
      <dgm:prSet/>
      <dgm:spPr/>
      <dgm:t>
        <a:bodyPr/>
        <a:lstStyle/>
        <a:p>
          <a:endParaRPr lang="en-GB" sz="1600"/>
        </a:p>
      </dgm:t>
    </dgm:pt>
    <dgm:pt modelId="{22176FC9-5916-4219-BD4E-0309039E3608}">
      <dgm:prSet phldrT="[Tekst]" custT="1"/>
      <dgm:spPr>
        <a:solidFill>
          <a:schemeClr val="tx1">
            <a:lumMod val="65000"/>
            <a:lumOff val="35000"/>
            <a:alpha val="90000"/>
          </a:schemeClr>
        </a:solidFill>
      </dgm:spPr>
      <dgm:t>
        <a:bodyPr anchor="ctr"/>
        <a:lstStyle/>
        <a:p>
          <a:pPr marL="177800" marR="0" lvl="0" indent="-88900" algn="l" defTabSz="914400" rtl="0" eaLnBrk="1" fontAlgn="auto" latinLnBrk="0" hangingPunct="1">
            <a:lnSpc>
              <a:spcPts val="2000"/>
            </a:lnSpc>
            <a:spcBef>
              <a:spcPts val="60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pl-PL" sz="1600" b="1" i="0" u="none" baseline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C</a:t>
          </a:r>
          <a:r>
            <a:rPr lang="en-GB" sz="1600" b="1" i="0" u="none" baseline="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onstruction</a:t>
          </a:r>
          <a:endParaRPr lang="en-GB" sz="1600" b="1" i="0" u="none" baseline="0" dirty="0">
            <a:solidFill>
              <a:schemeClr val="bg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75392E8C-2635-4B8A-A243-ED98DC141F77}" type="parTrans" cxnId="{35D6A167-8206-41BB-ABAC-225D13293C0D}">
      <dgm:prSet/>
      <dgm:spPr/>
      <dgm:t>
        <a:bodyPr/>
        <a:lstStyle/>
        <a:p>
          <a:endParaRPr lang="en-GB" sz="1600"/>
        </a:p>
      </dgm:t>
    </dgm:pt>
    <dgm:pt modelId="{2851089A-46B5-4F69-B7B3-8A22BD9D4DB8}" type="sibTrans" cxnId="{35D6A167-8206-41BB-ABAC-225D13293C0D}">
      <dgm:prSet/>
      <dgm:spPr/>
      <dgm:t>
        <a:bodyPr/>
        <a:lstStyle/>
        <a:p>
          <a:endParaRPr lang="en-GB" sz="1600"/>
        </a:p>
      </dgm:t>
    </dgm:pt>
    <dgm:pt modelId="{624FE99D-FA88-493E-8BE9-A8371F4E0109}">
      <dgm:prSet phldrT="[Tekst]" custT="1"/>
      <dgm:spPr>
        <a:solidFill>
          <a:schemeClr val="tx1">
            <a:lumMod val="65000"/>
            <a:lumOff val="35000"/>
            <a:alpha val="90000"/>
          </a:schemeClr>
        </a:solidFill>
      </dgm:spPr>
      <dgm:t>
        <a:bodyPr anchor="ctr"/>
        <a:lstStyle/>
        <a:p>
          <a:pPr marL="177800" marR="0" lvl="0" indent="-88900" algn="l" defTabSz="914400" rtl="0" eaLnBrk="1" fontAlgn="auto" latinLnBrk="0" hangingPunct="1">
            <a:lnSpc>
              <a:spcPts val="2000"/>
            </a:lnSpc>
            <a:spcBef>
              <a:spcPts val="60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pl-PL" sz="1600" b="1" i="0" u="none" baseline="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Renewables</a:t>
          </a:r>
          <a:endParaRPr lang="en-GB" sz="1600" b="1" i="0" u="none" baseline="0" dirty="0">
            <a:solidFill>
              <a:schemeClr val="bg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C086795-1943-4571-ABF6-653BDEEE01CE}" type="parTrans" cxnId="{973AB618-0EA3-44F5-8B47-2340E1C0DC89}">
      <dgm:prSet/>
      <dgm:spPr/>
      <dgm:t>
        <a:bodyPr/>
        <a:lstStyle/>
        <a:p>
          <a:endParaRPr lang="pl-PL" sz="1600"/>
        </a:p>
      </dgm:t>
    </dgm:pt>
    <dgm:pt modelId="{F533E3F5-9964-4005-8D2B-B0612B93C4AF}" type="sibTrans" cxnId="{973AB618-0EA3-44F5-8B47-2340E1C0DC89}">
      <dgm:prSet/>
      <dgm:spPr/>
      <dgm:t>
        <a:bodyPr/>
        <a:lstStyle/>
        <a:p>
          <a:endParaRPr lang="pl-PL" sz="1600"/>
        </a:p>
      </dgm:t>
    </dgm:pt>
    <dgm:pt modelId="{84D1E782-A2EB-4B98-8BA2-BE12B866B196}">
      <dgm:prSet phldrT="[Tekst]" custT="1"/>
      <dgm:spPr>
        <a:solidFill>
          <a:schemeClr val="tx1">
            <a:lumMod val="65000"/>
            <a:lumOff val="35000"/>
            <a:alpha val="90000"/>
          </a:schemeClr>
        </a:solidFill>
      </dgm:spPr>
      <dgm:t>
        <a:bodyPr anchor="ctr"/>
        <a:lstStyle/>
        <a:p>
          <a:pPr marL="177800" marR="0" lvl="0" indent="-88900" algn="l" defTabSz="914400" rtl="0" eaLnBrk="1" fontAlgn="auto" latinLnBrk="0" hangingPunct="1">
            <a:lnSpc>
              <a:spcPts val="2000"/>
            </a:lnSpc>
            <a:spcBef>
              <a:spcPts val="60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pl-PL" sz="1600" b="1" i="0" u="none" baseline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R</a:t>
          </a:r>
          <a:r>
            <a:rPr lang="en-GB" sz="1600" b="1" i="0" u="none" baseline="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ailway</a:t>
          </a:r>
          <a:endParaRPr lang="en-GB" sz="1600" b="1" i="0" u="none" baseline="0" dirty="0">
            <a:solidFill>
              <a:schemeClr val="bg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8F4DD516-A8FB-41D9-AAB1-7B36903763F7}" type="parTrans" cxnId="{FBABF2CA-E683-48C9-957A-08C8446FA4F6}">
      <dgm:prSet/>
      <dgm:spPr/>
      <dgm:t>
        <a:bodyPr/>
        <a:lstStyle/>
        <a:p>
          <a:endParaRPr lang="pl-PL" sz="1600"/>
        </a:p>
      </dgm:t>
    </dgm:pt>
    <dgm:pt modelId="{F820C542-7D22-4DFA-ADCD-94F6E0D00830}" type="sibTrans" cxnId="{FBABF2CA-E683-48C9-957A-08C8446FA4F6}">
      <dgm:prSet/>
      <dgm:spPr/>
      <dgm:t>
        <a:bodyPr/>
        <a:lstStyle/>
        <a:p>
          <a:endParaRPr lang="pl-PL" sz="1600"/>
        </a:p>
      </dgm:t>
    </dgm:pt>
    <dgm:pt modelId="{683BBB9A-FF3E-4FB8-AD12-E82DC18123AD}" type="pres">
      <dgm:prSet presAssocID="{364F3199-C073-40CB-949A-E77DC8ACAAED}" presName="Name0" presStyleCnt="0">
        <dgm:presLayoutVars>
          <dgm:dir/>
          <dgm:animLvl val="lvl"/>
          <dgm:resizeHandles/>
        </dgm:presLayoutVars>
      </dgm:prSet>
      <dgm:spPr/>
    </dgm:pt>
    <dgm:pt modelId="{CBEF9846-201F-4E86-910C-F9A0283A2E35}" type="pres">
      <dgm:prSet presAssocID="{05188AFD-A258-47E8-A1CA-6C50EF66B377}" presName="linNode" presStyleCnt="0"/>
      <dgm:spPr/>
    </dgm:pt>
    <dgm:pt modelId="{3A761E37-1816-42A1-AAF3-2E603306637B}" type="pres">
      <dgm:prSet presAssocID="{05188AFD-A258-47E8-A1CA-6C50EF66B377}" presName="parentShp" presStyleLbl="node1" presStyleIdx="0" presStyleCnt="1" custScaleX="101858">
        <dgm:presLayoutVars>
          <dgm:bulletEnabled val="1"/>
        </dgm:presLayoutVars>
      </dgm:prSet>
      <dgm:spPr/>
    </dgm:pt>
    <dgm:pt modelId="{54BB5A2D-05CE-443A-B83B-89B5CB295093}" type="pres">
      <dgm:prSet presAssocID="{05188AFD-A258-47E8-A1CA-6C50EF66B377}" presName="childShp" presStyleLbl="bgAccFollowNode1" presStyleIdx="0" presStyleCnt="1" custScaleX="166483">
        <dgm:presLayoutVars>
          <dgm:bulletEnabled val="1"/>
        </dgm:presLayoutVars>
      </dgm:prSet>
      <dgm:spPr/>
    </dgm:pt>
  </dgm:ptLst>
  <dgm:cxnLst>
    <dgm:cxn modelId="{21030C03-9644-42D4-AD59-FCCFFFA5F9C1}" type="presOf" srcId="{624FE99D-FA88-493E-8BE9-A8371F4E0109}" destId="{54BB5A2D-05CE-443A-B83B-89B5CB295093}" srcOrd="0" destOrd="1" presId="urn:microsoft.com/office/officeart/2005/8/layout/vList6"/>
    <dgm:cxn modelId="{973AB618-0EA3-44F5-8B47-2340E1C0DC89}" srcId="{05188AFD-A258-47E8-A1CA-6C50EF66B377}" destId="{624FE99D-FA88-493E-8BE9-A8371F4E0109}" srcOrd="1" destOrd="0" parTransId="{4C086795-1943-4571-ABF6-653BDEEE01CE}" sibTransId="{F533E3F5-9964-4005-8D2B-B0612B93C4AF}"/>
    <dgm:cxn modelId="{6765522A-72D4-4CE6-8904-9F49FBD2AC0B}" srcId="{364F3199-C073-40CB-949A-E77DC8ACAAED}" destId="{05188AFD-A258-47E8-A1CA-6C50EF66B377}" srcOrd="0" destOrd="0" parTransId="{2F5B9138-55BF-4C39-89CE-C68EB84EE483}" sibTransId="{E2828FE8-7966-4ACB-9C36-F9B0E0A91FA4}"/>
    <dgm:cxn modelId="{35D6A167-8206-41BB-ABAC-225D13293C0D}" srcId="{05188AFD-A258-47E8-A1CA-6C50EF66B377}" destId="{22176FC9-5916-4219-BD4E-0309039E3608}" srcOrd="0" destOrd="0" parTransId="{75392E8C-2635-4B8A-A243-ED98DC141F77}" sibTransId="{2851089A-46B5-4F69-B7B3-8A22BD9D4DB8}"/>
    <dgm:cxn modelId="{8A72C769-F27D-403A-8AEB-08F152091F91}" type="presOf" srcId="{22176FC9-5916-4219-BD4E-0309039E3608}" destId="{54BB5A2D-05CE-443A-B83B-89B5CB295093}" srcOrd="0" destOrd="0" presId="urn:microsoft.com/office/officeart/2005/8/layout/vList6"/>
    <dgm:cxn modelId="{4945EC71-F66B-486B-9E1D-1EAC6B8FE087}" type="presOf" srcId="{05188AFD-A258-47E8-A1CA-6C50EF66B377}" destId="{3A761E37-1816-42A1-AAF3-2E603306637B}" srcOrd="0" destOrd="0" presId="urn:microsoft.com/office/officeart/2005/8/layout/vList6"/>
    <dgm:cxn modelId="{6D30DD7D-52C8-4935-8508-539A7121E8DE}" type="presOf" srcId="{364F3199-C073-40CB-949A-E77DC8ACAAED}" destId="{683BBB9A-FF3E-4FB8-AD12-E82DC18123AD}" srcOrd="0" destOrd="0" presId="urn:microsoft.com/office/officeart/2005/8/layout/vList6"/>
    <dgm:cxn modelId="{FBABF2CA-E683-48C9-957A-08C8446FA4F6}" srcId="{05188AFD-A258-47E8-A1CA-6C50EF66B377}" destId="{84D1E782-A2EB-4B98-8BA2-BE12B866B196}" srcOrd="2" destOrd="0" parTransId="{8F4DD516-A8FB-41D9-AAB1-7B36903763F7}" sibTransId="{F820C542-7D22-4DFA-ADCD-94F6E0D00830}"/>
    <dgm:cxn modelId="{4A85E4F4-B564-4DEF-93EA-BCFFC452A05B}" type="presOf" srcId="{84D1E782-A2EB-4B98-8BA2-BE12B866B196}" destId="{54BB5A2D-05CE-443A-B83B-89B5CB295093}" srcOrd="0" destOrd="2" presId="urn:microsoft.com/office/officeart/2005/8/layout/vList6"/>
    <dgm:cxn modelId="{B4A1F638-E9C9-40B4-AB51-89B30C31EC4F}" type="presParOf" srcId="{683BBB9A-FF3E-4FB8-AD12-E82DC18123AD}" destId="{CBEF9846-201F-4E86-910C-F9A0283A2E35}" srcOrd="0" destOrd="0" presId="urn:microsoft.com/office/officeart/2005/8/layout/vList6"/>
    <dgm:cxn modelId="{06BD0903-EF72-45C6-BD46-2C063EFD3CB2}" type="presParOf" srcId="{CBEF9846-201F-4E86-910C-F9A0283A2E35}" destId="{3A761E37-1816-42A1-AAF3-2E603306637B}" srcOrd="0" destOrd="0" presId="urn:microsoft.com/office/officeart/2005/8/layout/vList6"/>
    <dgm:cxn modelId="{B611628E-26ED-40AB-BCBD-5F8130430818}" type="presParOf" srcId="{CBEF9846-201F-4E86-910C-F9A0283A2E35}" destId="{54BB5A2D-05CE-443A-B83B-89B5CB295093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998EFE4-9592-42E8-9424-46F80CC04019}">
      <dsp:nvSpPr>
        <dsp:cNvPr id="0" name=""/>
        <dsp:cNvSpPr/>
      </dsp:nvSpPr>
      <dsp:spPr>
        <a:xfrm>
          <a:off x="367253" y="0"/>
          <a:ext cx="4162201" cy="1674417"/>
        </a:xfrm>
        <a:prstGeom prst="rightArrow">
          <a:avLst/>
        </a:prstGeom>
        <a:solidFill>
          <a:schemeClr val="tx1">
            <a:lumMod val="50000"/>
            <a:lumOff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0EBCE68-7E87-47B2-876B-04912D7EF708}">
      <dsp:nvSpPr>
        <dsp:cNvPr id="0" name=""/>
        <dsp:cNvSpPr/>
      </dsp:nvSpPr>
      <dsp:spPr>
        <a:xfrm>
          <a:off x="2271" y="502325"/>
          <a:ext cx="961170" cy="669766"/>
        </a:xfrm>
        <a:prstGeom prst="roundRect">
          <a:avLst/>
        </a:prstGeom>
        <a:solidFill>
          <a:srgbClr val="C00000"/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i="0" u="none" kern="1200" baseline="0" dirty="0">
              <a:latin typeface="Calibri" panose="020F0502020204030204" pitchFamily="34" charset="0"/>
            </a:rPr>
            <a:t>Design</a:t>
          </a:r>
        </a:p>
      </dsp:txBody>
      <dsp:txXfrm>
        <a:off x="34966" y="535020"/>
        <a:ext cx="895780" cy="604376"/>
      </dsp:txXfrm>
    </dsp:sp>
    <dsp:sp modelId="{B647C933-9132-46E3-8806-62144F2E9FD0}">
      <dsp:nvSpPr>
        <dsp:cNvPr id="0" name=""/>
        <dsp:cNvSpPr/>
      </dsp:nvSpPr>
      <dsp:spPr>
        <a:xfrm>
          <a:off x="1123637" y="502325"/>
          <a:ext cx="1528068" cy="669766"/>
        </a:xfrm>
        <a:prstGeom prst="roundRect">
          <a:avLst/>
        </a:prstGeom>
        <a:solidFill>
          <a:srgbClr val="C00000"/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i="0" u="none" kern="1200" baseline="0" dirty="0">
              <a:latin typeface="Calibri" panose="020F0502020204030204" pitchFamily="34" charset="0"/>
            </a:rPr>
            <a:t>Construction and research</a:t>
          </a:r>
        </a:p>
      </dsp:txBody>
      <dsp:txXfrm>
        <a:off x="1156332" y="535020"/>
        <a:ext cx="1462678" cy="604376"/>
      </dsp:txXfrm>
    </dsp:sp>
    <dsp:sp modelId="{E2A1E0EC-86D7-48AA-BA80-83FFDEC1A363}">
      <dsp:nvSpPr>
        <dsp:cNvPr id="0" name=""/>
        <dsp:cNvSpPr/>
      </dsp:nvSpPr>
      <dsp:spPr>
        <a:xfrm>
          <a:off x="2811900" y="502325"/>
          <a:ext cx="961170" cy="669766"/>
        </a:xfrm>
        <a:prstGeom prst="roundRect">
          <a:avLst/>
        </a:prstGeom>
        <a:solidFill>
          <a:srgbClr val="C00000"/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i="0" u="none" kern="1200" baseline="0" dirty="0">
              <a:latin typeface="Calibri" panose="020F0502020204030204" pitchFamily="34" charset="0"/>
            </a:rPr>
            <a:t>Delivery</a:t>
          </a:r>
        </a:p>
      </dsp:txBody>
      <dsp:txXfrm>
        <a:off x="2844595" y="535020"/>
        <a:ext cx="895780" cy="604376"/>
      </dsp:txXfrm>
    </dsp:sp>
    <dsp:sp modelId="{796418EA-7602-40FD-87F1-E0018F33D2CA}">
      <dsp:nvSpPr>
        <dsp:cNvPr id="0" name=""/>
        <dsp:cNvSpPr/>
      </dsp:nvSpPr>
      <dsp:spPr>
        <a:xfrm>
          <a:off x="3933265" y="502325"/>
          <a:ext cx="961170" cy="669766"/>
        </a:xfrm>
        <a:prstGeom prst="roundRect">
          <a:avLst/>
        </a:prstGeom>
        <a:solidFill>
          <a:srgbClr val="C00000"/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b="1" i="0" u="none" kern="1200" baseline="0">
              <a:latin typeface="Calibri" panose="020F0502020204030204" pitchFamily="34" charset="0"/>
            </a:rPr>
            <a:t>Service</a:t>
          </a:r>
        </a:p>
      </dsp:txBody>
      <dsp:txXfrm>
        <a:off x="3965960" y="535020"/>
        <a:ext cx="895780" cy="60437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4BB5A2D-05CE-443A-B83B-89B5CB295093}">
      <dsp:nvSpPr>
        <dsp:cNvPr id="0" name=""/>
        <dsp:cNvSpPr/>
      </dsp:nvSpPr>
      <dsp:spPr>
        <a:xfrm>
          <a:off x="1043224" y="0"/>
          <a:ext cx="2556838" cy="1091141"/>
        </a:xfrm>
        <a:prstGeom prst="rightArrow">
          <a:avLst>
            <a:gd name="adj1" fmla="val 75000"/>
            <a:gd name="adj2" fmla="val 50000"/>
          </a:avLst>
        </a:prstGeom>
        <a:solidFill>
          <a:schemeClr val="tx1">
            <a:lumMod val="65000"/>
            <a:lumOff val="35000"/>
            <a:alpha val="90000"/>
          </a:schemeClr>
        </a:solidFill>
        <a:ln w="22225" cap="rnd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177800" marR="0" lvl="0" indent="-88900" algn="l" defTabSz="914400" rtl="0" eaLnBrk="1" fontAlgn="auto" latinLnBrk="0" hangingPunct="1">
            <a:lnSpc>
              <a:spcPts val="2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pl-PL" sz="1600" b="1" i="0" u="none" kern="1200" baseline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C</a:t>
          </a:r>
          <a:r>
            <a:rPr lang="en-GB" sz="1600" b="1" i="0" u="none" kern="1200" baseline="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onstruction</a:t>
          </a:r>
          <a:endParaRPr lang="en-GB" sz="1600" b="1" i="0" u="none" kern="1200" baseline="0" dirty="0">
            <a:solidFill>
              <a:schemeClr val="bg1"/>
            </a:solidFill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7800" marR="0" lvl="0" indent="-88900" algn="l" defTabSz="914400" rtl="0" eaLnBrk="1" fontAlgn="auto" latinLnBrk="0" hangingPunct="1">
            <a:lnSpc>
              <a:spcPts val="2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pl-PL" sz="1600" b="1" i="0" u="none" kern="1200" baseline="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Renewables</a:t>
          </a:r>
          <a:endParaRPr lang="en-GB" sz="1600" b="1" i="0" u="none" kern="1200" baseline="0" dirty="0">
            <a:solidFill>
              <a:schemeClr val="bg1"/>
            </a:solidFill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7800" marR="0" lvl="0" indent="-88900" algn="l" defTabSz="914400" rtl="0" eaLnBrk="1" fontAlgn="auto" latinLnBrk="0" hangingPunct="1">
            <a:lnSpc>
              <a:spcPts val="2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pl-PL" sz="1600" b="1" i="0" u="none" kern="1200" baseline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R</a:t>
          </a:r>
          <a:r>
            <a:rPr lang="en-GB" sz="1600" b="1" i="0" u="none" kern="1200" baseline="0" dirty="0" err="1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ailway</a:t>
          </a:r>
          <a:endParaRPr lang="en-GB" sz="1600" b="1" i="0" u="none" kern="1200" baseline="0" dirty="0">
            <a:solidFill>
              <a:schemeClr val="bg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1043224" y="136393"/>
        <a:ext cx="2147660" cy="818355"/>
      </dsp:txXfrm>
    </dsp:sp>
    <dsp:sp modelId="{3A761E37-1816-42A1-AAF3-2E603306637B}">
      <dsp:nvSpPr>
        <dsp:cNvPr id="0" name=""/>
        <dsp:cNvSpPr/>
      </dsp:nvSpPr>
      <dsp:spPr>
        <a:xfrm>
          <a:off x="337" y="0"/>
          <a:ext cx="1042887" cy="1091141"/>
        </a:xfrm>
        <a:prstGeom prst="roundRect">
          <a:avLst/>
        </a:prstGeom>
        <a:solidFill>
          <a:srgbClr val="C00000"/>
        </a:solidFill>
        <a:ln w="2222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0" lvl="0" indent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600" b="1" i="0" u="none" kern="1200" baseline="0" dirty="0">
              <a:latin typeface="Calibri" panose="020F0502020204030204" pitchFamily="34" charset="0"/>
            </a:rPr>
            <a:t>New a</a:t>
          </a:r>
          <a:r>
            <a:rPr lang="en-GB" sz="1600" b="1" i="0" u="none" kern="1200" baseline="0" dirty="0" err="1">
              <a:latin typeface="Calibri" panose="020F0502020204030204" pitchFamily="34" charset="0"/>
            </a:rPr>
            <a:t>ctivities</a:t>
          </a:r>
          <a:r>
            <a:rPr lang="en-GB" sz="1600" b="1" i="0" u="none" kern="1200" baseline="0" dirty="0">
              <a:latin typeface="Calibri" panose="020F0502020204030204" pitchFamily="34" charset="0"/>
            </a:rPr>
            <a:t>:</a:t>
          </a:r>
        </a:p>
      </dsp:txBody>
      <dsp:txXfrm>
        <a:off x="51247" y="50910"/>
        <a:ext cx="941067" cy="98932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3199</cdr:x>
      <cdr:y>0.0914</cdr:y>
    </cdr:from>
    <cdr:to>
      <cdr:x>0.74207</cdr:x>
      <cdr:y>0.19801</cdr:y>
    </cdr:to>
    <cdr:sp macro="" textlink="">
      <cdr:nvSpPr>
        <cdr:cNvPr id="2" name="pole tekstowe 1"/>
        <cdr:cNvSpPr txBox="1"/>
      </cdr:nvSpPr>
      <cdr:spPr>
        <a:xfrm xmlns:a="http://schemas.openxmlformats.org/drawingml/2006/main">
          <a:off x="1533525" y="319088"/>
          <a:ext cx="3371850" cy="3714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pl-PL" dirty="0"/>
        </a:p>
      </cdr:txBody>
    </cdr:sp>
  </cdr:relSizeAnchor>
  <cdr:relSizeAnchor xmlns:cdr="http://schemas.openxmlformats.org/drawingml/2006/chartDrawing">
    <cdr:from>
      <cdr:x>0.05097</cdr:x>
      <cdr:y>0.9665</cdr:y>
    </cdr:from>
    <cdr:to>
      <cdr:x>0.5621</cdr:x>
      <cdr:y>1</cdr:y>
    </cdr:to>
    <cdr:sp macro="" textlink="">
      <cdr:nvSpPr>
        <cdr:cNvPr id="4" name="pole tekstowe 3"/>
        <cdr:cNvSpPr txBox="1"/>
      </cdr:nvSpPr>
      <cdr:spPr>
        <a:xfrm xmlns:a="http://schemas.openxmlformats.org/drawingml/2006/main">
          <a:off x="414337" y="5097782"/>
          <a:ext cx="4155281" cy="17668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pl-PL" sz="1100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279086" cy="337106"/>
          </a:xfrm>
          <a:prstGeom prst="rect">
            <a:avLst/>
          </a:prstGeom>
        </p:spPr>
        <p:txBody>
          <a:bodyPr vert="horz" lIns="91085" tIns="45541" rIns="91085" bIns="45541" rtlCol="0"/>
          <a:lstStyle>
            <a:lvl1pPr algn="l">
              <a:defRPr sz="1200"/>
            </a:lvl1pPr>
          </a:lstStyle>
          <a:p>
            <a:endParaRPr lang="pl-PL" dirty="0"/>
          </a:p>
        </p:txBody>
      </p:sp>
      <p:sp>
        <p:nvSpPr>
          <p:cNvPr id="3" name="Symbol zastępczy daty 2"/>
          <p:cNvSpPr>
            <a:spLocks noGrp="1"/>
          </p:cNvSpPr>
          <p:nvPr>
            <p:ph type="dt" sz="quarter" idx="1"/>
          </p:nvPr>
        </p:nvSpPr>
        <p:spPr>
          <a:xfrm>
            <a:off x="5591257" y="0"/>
            <a:ext cx="4279086" cy="337106"/>
          </a:xfrm>
          <a:prstGeom prst="rect">
            <a:avLst/>
          </a:prstGeom>
        </p:spPr>
        <p:txBody>
          <a:bodyPr vert="horz" lIns="91085" tIns="45541" rIns="91085" bIns="45541" rtlCol="0"/>
          <a:lstStyle>
            <a:lvl1pPr algn="r">
              <a:defRPr sz="1200"/>
            </a:lvl1pPr>
          </a:lstStyle>
          <a:p>
            <a:fld id="{6435C95C-E3AE-4152-AF8C-D3C0531E01A5}" type="datetimeFigureOut">
              <a:rPr lang="pl-PL" smtClean="0"/>
              <a:pPr/>
              <a:t>16.05.2019</a:t>
            </a:fld>
            <a:endParaRPr lang="pl-PL" dirty="0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2"/>
          </p:nvPr>
        </p:nvSpPr>
        <p:spPr>
          <a:xfrm>
            <a:off x="1" y="6403924"/>
            <a:ext cx="4279086" cy="337106"/>
          </a:xfrm>
          <a:prstGeom prst="rect">
            <a:avLst/>
          </a:prstGeom>
        </p:spPr>
        <p:txBody>
          <a:bodyPr vert="horz" lIns="91085" tIns="45541" rIns="91085" bIns="45541" rtlCol="0" anchor="b"/>
          <a:lstStyle>
            <a:lvl1pPr algn="l">
              <a:defRPr sz="1200"/>
            </a:lvl1pPr>
          </a:lstStyle>
          <a:p>
            <a:endParaRPr lang="pl-PL" dirty="0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3"/>
          </p:nvPr>
        </p:nvSpPr>
        <p:spPr>
          <a:xfrm>
            <a:off x="5591257" y="6403924"/>
            <a:ext cx="4279086" cy="337106"/>
          </a:xfrm>
          <a:prstGeom prst="rect">
            <a:avLst/>
          </a:prstGeom>
        </p:spPr>
        <p:txBody>
          <a:bodyPr vert="horz" lIns="91085" tIns="45541" rIns="91085" bIns="45541" rtlCol="0" anchor="b"/>
          <a:lstStyle>
            <a:lvl1pPr algn="r">
              <a:defRPr sz="1200"/>
            </a:lvl1pPr>
          </a:lstStyle>
          <a:p>
            <a:fld id="{0CB720BD-81EB-4393-A012-A9A1E5C558B8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658108724"/>
      </p:ext>
    </p:extLst>
  </p:cSld>
  <p:clrMap bg1="lt1" tx1="dk1" bg2="lt2" tx2="dk2" accent1="accent1" accent2="accent2" accent3="accent3" accent4="accent4" accent5="accent5" accent6="accent6" hlink="hlink" folHlink="folHlink"/>
  <p:hf sldNum="0"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6" y="0"/>
            <a:ext cx="4278154" cy="337106"/>
          </a:xfrm>
          <a:prstGeom prst="rect">
            <a:avLst/>
          </a:prstGeom>
        </p:spPr>
        <p:txBody>
          <a:bodyPr vert="horz" lIns="91080" tIns="45538" rIns="91080" bIns="45538" rtlCol="0"/>
          <a:lstStyle>
            <a:lvl1pPr algn="l">
              <a:defRPr sz="1200"/>
            </a:lvl1pPr>
          </a:lstStyle>
          <a:p>
            <a:endParaRPr lang="pl-PL" dirty="0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5592228" y="0"/>
            <a:ext cx="4278154" cy="337106"/>
          </a:xfrm>
          <a:prstGeom prst="rect">
            <a:avLst/>
          </a:prstGeom>
        </p:spPr>
        <p:txBody>
          <a:bodyPr vert="horz" lIns="91080" tIns="45538" rIns="91080" bIns="45538" rtlCol="0"/>
          <a:lstStyle>
            <a:lvl1pPr algn="r">
              <a:defRPr sz="1200"/>
            </a:lvl1pPr>
          </a:lstStyle>
          <a:p>
            <a:fld id="{EF31D12A-CD3E-4413-9A40-F5D9290323C3}" type="datetimeFigureOut">
              <a:rPr lang="pl-PL" smtClean="0"/>
              <a:pPr/>
              <a:t>16.05.2019</a:t>
            </a:fld>
            <a:endParaRPr lang="pl-PL" dirty="0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2687638" y="504825"/>
            <a:ext cx="4497387" cy="25288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080" tIns="45538" rIns="91080" bIns="45538" rtlCol="0" anchor="ctr"/>
          <a:lstStyle/>
          <a:p>
            <a:endParaRPr lang="pl-PL" dirty="0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987269" y="3202508"/>
            <a:ext cx="7898130" cy="3033951"/>
          </a:xfrm>
          <a:prstGeom prst="rect">
            <a:avLst/>
          </a:prstGeom>
        </p:spPr>
        <p:txBody>
          <a:bodyPr vert="horz" lIns="91080" tIns="45538" rIns="91080" bIns="45538" rtlCol="0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6" y="6403838"/>
            <a:ext cx="4278154" cy="337106"/>
          </a:xfrm>
          <a:prstGeom prst="rect">
            <a:avLst/>
          </a:prstGeom>
        </p:spPr>
        <p:txBody>
          <a:bodyPr vert="horz" lIns="91080" tIns="45538" rIns="91080" bIns="45538" rtlCol="0" anchor="b"/>
          <a:lstStyle>
            <a:lvl1pPr algn="l">
              <a:defRPr sz="1200"/>
            </a:lvl1pPr>
          </a:lstStyle>
          <a:p>
            <a:endParaRPr lang="pl-PL" dirty="0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5592228" y="6403838"/>
            <a:ext cx="4278154" cy="337106"/>
          </a:xfrm>
          <a:prstGeom prst="rect">
            <a:avLst/>
          </a:prstGeom>
        </p:spPr>
        <p:txBody>
          <a:bodyPr vert="horz" lIns="91080" tIns="45538" rIns="91080" bIns="45538" rtlCol="0" anchor="b"/>
          <a:lstStyle>
            <a:lvl1pPr algn="r">
              <a:defRPr sz="1200"/>
            </a:lvl1pPr>
          </a:lstStyle>
          <a:p>
            <a:fld id="{E47C395E-03F1-46FC-99F1-5CA4D75BBBFE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666220966"/>
      </p:ext>
    </p:extLst>
  </p:cSld>
  <p:clrMap bg1="lt1" tx1="dk1" bg2="lt2" tx2="dk2" accent1="accent1" accent2="accent2" accent3="accent3" accent4="accent4" accent5="accent5" accent6="accent6" hlink="hlink" folHlink="folHlink"/>
  <p:hf sldNum="0"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>
          <a:xfrm>
            <a:off x="2687638" y="504825"/>
            <a:ext cx="4497387" cy="2528888"/>
          </a:xfrm>
        </p:spPr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229A4F52-AED0-4D0C-8F93-F17A54D7DEF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6055263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>
          <a:xfrm>
            <a:off x="3268663" y="415925"/>
            <a:ext cx="3697287" cy="2079625"/>
          </a:xfrm>
        </p:spPr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l-PL" dirty="0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92336721-CEF9-4069-B434-8A92D29CEF3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88634187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>
          <a:xfrm>
            <a:off x="3268663" y="415925"/>
            <a:ext cx="3697287" cy="2079625"/>
          </a:xfrm>
        </p:spPr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73C39385-A266-4148-9EC4-59CC1F763E7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30257789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>
          <a:xfrm>
            <a:off x="3268663" y="415925"/>
            <a:ext cx="3697287" cy="2079625"/>
          </a:xfrm>
        </p:spPr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7E50094B-50F2-4537-A64B-0A97499BAE1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64197514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>
          <a:xfrm>
            <a:off x="3268663" y="415925"/>
            <a:ext cx="3697287" cy="2079625"/>
          </a:xfrm>
        </p:spPr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34E50177-6180-42BA-AD71-9D0D990ECA7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13901152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>
          <a:xfrm>
            <a:off x="3268663" y="415925"/>
            <a:ext cx="3697287" cy="2079625"/>
          </a:xfrm>
        </p:spPr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165F0903-35EE-4098-A7CF-0719E908EEC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20802820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>
          <a:xfrm>
            <a:off x="2690813" y="504825"/>
            <a:ext cx="4491037" cy="2527300"/>
          </a:xfrm>
        </p:spPr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4DF7A345-7838-4999-B5BF-F5E7A1CCC04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0191000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>
          <a:xfrm>
            <a:off x="2690813" y="504825"/>
            <a:ext cx="4491037" cy="2527300"/>
          </a:xfrm>
        </p:spPr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5C737531-CDC8-46F0-BEBE-E431BEA1424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6055263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>
          <a:xfrm>
            <a:off x="3268663" y="415925"/>
            <a:ext cx="3697287" cy="2079625"/>
          </a:xfrm>
        </p:spPr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79AAAE54-7F8C-43A4-B7FD-7BE68142CAB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7408929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>
          <a:xfrm>
            <a:off x="3268663" y="415925"/>
            <a:ext cx="3697287" cy="2079625"/>
          </a:xfrm>
        </p:spPr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5533864C-8426-45F5-AD92-D9B5D542DE4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3618994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>
          <a:xfrm>
            <a:off x="3268663" y="415925"/>
            <a:ext cx="3697287" cy="2079625"/>
          </a:xfrm>
        </p:spPr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37E36C6D-22F4-48A4-818B-45F54DA4B46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314515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>
          <a:xfrm>
            <a:off x="2690813" y="504825"/>
            <a:ext cx="4491037" cy="2527300"/>
          </a:xfrm>
        </p:spPr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479058AE-359C-496B-B797-5476CBDB1A6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7408929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>
          <a:xfrm>
            <a:off x="2030413" y="612775"/>
            <a:ext cx="5462587" cy="3073400"/>
          </a:xfrm>
        </p:spPr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973CC14A-8656-464F-B8A1-FBF565DE3A7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3149602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>
          <a:xfrm>
            <a:off x="2030413" y="612775"/>
            <a:ext cx="5462587" cy="3073400"/>
          </a:xfrm>
        </p:spPr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E3FF9ED7-B47B-4999-B0A6-7E0C36633FD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2401903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>
          <a:xfrm>
            <a:off x="2030413" y="612775"/>
            <a:ext cx="5462587" cy="3073400"/>
          </a:xfrm>
        </p:spPr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AFE55149-E578-4BA5-B8BF-C9B7079107E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3927730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>
          <a:xfrm>
            <a:off x="2690813" y="504825"/>
            <a:ext cx="4491037" cy="2527300"/>
          </a:xfrm>
        </p:spPr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415DFFAD-E483-4C5F-B247-A8ECBB83BC6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2228617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48091" y="2314324"/>
            <a:ext cx="8240109" cy="247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8096" y="411511"/>
            <a:ext cx="8240107" cy="1460073"/>
          </a:xfrm>
          <a:prstGeom prst="rect">
            <a:avLst/>
          </a:prstGeom>
          <a:solidFill>
            <a:schemeClr val="bg1">
              <a:lumMod val="85000"/>
            </a:schemeClr>
          </a:solidFill>
          <a:effectLst/>
        </p:spPr>
        <p:txBody>
          <a:bodyPr anchor="b">
            <a:norm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pl-PL" dirty="0"/>
              <a:t>Kliknij, aby edytować sty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1193" y="1871586"/>
            <a:ext cx="7989753" cy="442741"/>
          </a:xfrm>
        </p:spPr>
        <p:txBody>
          <a:bodyPr anchor="t">
            <a:normAutofit/>
          </a:bodyPr>
          <a:lstStyle>
            <a:lvl1pPr marL="0" indent="0" algn="l">
              <a:buNone/>
              <a:defRPr sz="1600" cap="all">
                <a:solidFill>
                  <a:schemeClr val="accent3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l-PL"/>
              <a:t>Kliknij, aby edytować styl wzorca podtytułu</a:t>
            </a:r>
            <a:endParaRPr lang="en-US" dirty="0"/>
          </a:p>
        </p:txBody>
      </p:sp>
      <p:pic>
        <p:nvPicPr>
          <p:cNvPr id="5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096" y="2314324"/>
            <a:ext cx="8240107" cy="247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3279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ewnętrz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ytuł 1"/>
          <p:cNvSpPr txBox="1">
            <a:spLocks/>
          </p:cNvSpPr>
          <p:nvPr/>
        </p:nvSpPr>
        <p:spPr>
          <a:xfrm>
            <a:off x="1095381" y="2472328"/>
            <a:ext cx="7362825" cy="2157620"/>
          </a:xfrm>
          <a:prstGeom prst="rect">
            <a:avLst/>
          </a:prstGeom>
          <a:ln>
            <a:noFill/>
          </a:ln>
        </p:spPr>
        <p:txBody>
          <a:bodyPr lIns="0" tIns="0" rIns="0" bIns="0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1"/>
                </a:solidFill>
                <a:latin typeface="Tahoma regular"/>
                <a:ea typeface="+mj-ea"/>
                <a:cs typeface="Tahoma regular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pl-PL" sz="1000" dirty="0">
              <a:solidFill>
                <a:prstClr val="black">
                  <a:lumMod val="75000"/>
                  <a:lumOff val="25000"/>
                </a:prstClr>
              </a:solidFill>
              <a:latin typeface="Tahoma"/>
              <a:cs typeface="Tahoma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263236" y="826079"/>
            <a:ext cx="8652164" cy="35680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>
              <a:buNone/>
              <a:defRPr/>
            </a:lvl1pPr>
            <a:lvl2pPr marL="324000" indent="0">
              <a:buNone/>
              <a:defRPr/>
            </a:lvl2pPr>
            <a:lvl3pPr marL="630000" indent="0">
              <a:buNone/>
              <a:defRPr/>
            </a:lvl3pPr>
            <a:lvl4pPr marL="1008000" indent="0">
              <a:buNone/>
              <a:defRPr/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</p:txBody>
      </p:sp>
      <p:pic>
        <p:nvPicPr>
          <p:cNvPr id="4" name="Picture 6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31" y="87475"/>
            <a:ext cx="8568951" cy="9181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2" descr="logoPGGbig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32242" y="197786"/>
            <a:ext cx="1997066" cy="643472"/>
          </a:xfrm>
          <a:prstGeom prst="rect">
            <a:avLst/>
          </a:prstGeom>
        </p:spPr>
      </p:pic>
      <p:sp>
        <p:nvSpPr>
          <p:cNvPr id="6" name="Text Placeholder 2"/>
          <p:cNvSpPr>
            <a:spLocks noGrp="1"/>
          </p:cNvSpPr>
          <p:nvPr>
            <p:ph type="body" idx="10"/>
          </p:nvPr>
        </p:nvSpPr>
        <p:spPr>
          <a:xfrm>
            <a:off x="468454" y="294314"/>
            <a:ext cx="5759732" cy="45041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 cap="all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654914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V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8232710"/>
              </p:ext>
            </p:extLst>
          </p:nvPr>
        </p:nvGraphicFramePr>
        <p:xfrm>
          <a:off x="1590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3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09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053380" y="4942012"/>
            <a:ext cx="770468" cy="92869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E36F00A9-ACD1-46EE-9E33-F59434DF6F3B}" type="slidenum">
              <a:rPr lang="pl-PL" smtClean="0">
                <a:solidFill>
                  <a:prstClr val="black"/>
                </a:solidFill>
              </a:rPr>
              <a:pPr/>
              <a:t>‹#›</a:t>
            </a:fld>
            <a:endParaRPr lang="pl-PL" dirty="0">
              <a:solidFill>
                <a:prstClr val="black"/>
              </a:solidFill>
            </a:endParaRPr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533233" y="4896005"/>
            <a:ext cx="8122456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Aft>
                <a:spcPts val="0"/>
              </a:spcAft>
              <a:buNone/>
              <a:defRPr sz="800" b="0"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 sz="1000"/>
            </a:lvl3pPr>
            <a:lvl4pPr>
              <a:spcAft>
                <a:spcPts val="0"/>
              </a:spcAft>
              <a:defRPr sz="1000"/>
            </a:lvl4pPr>
            <a:lvl5pPr>
              <a:spcAft>
                <a:spcPts val="0"/>
              </a:spcAft>
              <a:defRPr sz="1000"/>
            </a:lvl5pPr>
          </a:lstStyle>
          <a:p>
            <a:pPr lvl="0"/>
            <a:r>
              <a:rPr lang="pl-PL" dirty="0"/>
              <a:t>&lt;</a:t>
            </a:r>
            <a:r>
              <a:rPr lang="pl-PL" dirty="0" err="1"/>
              <a:t>Enter</a:t>
            </a:r>
            <a:r>
              <a:rPr lang="pl-PL" dirty="0"/>
              <a:t> </a:t>
            </a:r>
            <a:r>
              <a:rPr lang="pl-PL" dirty="0" err="1"/>
              <a:t>source</a:t>
            </a:r>
            <a:r>
              <a:rPr lang="pl-PL" dirty="0"/>
              <a:t> </a:t>
            </a:r>
            <a:r>
              <a:rPr lang="pl-PL" dirty="0" err="1"/>
              <a:t>here</a:t>
            </a:r>
            <a:r>
              <a:rPr lang="pl-PL" dirty="0"/>
              <a:t>&gt;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263236" y="826079"/>
            <a:ext cx="8652164" cy="35680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</p:txBody>
      </p:sp>
      <p:pic>
        <p:nvPicPr>
          <p:cNvPr id="10" name="Picture 11" descr="logoPGGbig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27839" y="3"/>
            <a:ext cx="1310052" cy="415120"/>
          </a:xfrm>
          <a:prstGeom prst="rect">
            <a:avLst/>
          </a:prstGeom>
        </p:spPr>
      </p:pic>
      <p:cxnSp>
        <p:nvCxnSpPr>
          <p:cNvPr id="7" name="Łącznik prostoliniowy 6"/>
          <p:cNvCxnSpPr/>
          <p:nvPr userDrawn="1"/>
        </p:nvCxnSpPr>
        <p:spPr>
          <a:xfrm>
            <a:off x="488320" y="465827"/>
            <a:ext cx="8122282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2294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1283" userDrawn="1">
          <p15:clr>
            <a:srgbClr val="FBAE40"/>
          </p15:clr>
        </p15:guide>
        <p15:guide id="2" pos="302" userDrawn="1">
          <p15:clr>
            <a:srgbClr val="FBAE40"/>
          </p15:clr>
        </p15:guide>
        <p15:guide id="3" pos="5424" userDrawn="1">
          <p15:clr>
            <a:srgbClr val="FBAE40"/>
          </p15:clr>
        </p15:guide>
        <p15:guide id="4" orient="horz" pos="397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spect="1"/>
          </p:cNvSpPr>
          <p:nvPr/>
        </p:nvSpPr>
        <p:spPr>
          <a:xfrm>
            <a:off x="0" y="4866523"/>
            <a:ext cx="9144000" cy="284793"/>
          </a:xfrm>
          <a:prstGeom prst="rect">
            <a:avLst/>
          </a:prstGeom>
          <a:solidFill>
            <a:srgbClr val="78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6" y="2277431"/>
            <a:ext cx="7989751" cy="112863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3600" b="0" cap="all">
                <a:solidFill>
                  <a:schemeClr val="accent1"/>
                </a:solidFill>
              </a:defRPr>
            </a:lvl1pPr>
          </a:lstStyle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1196" y="3406064"/>
            <a:ext cx="7989751" cy="45041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 cap="all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559327" y="4851561"/>
            <a:ext cx="2133600" cy="273844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endParaRPr lang="pl-PL" dirty="0">
              <a:solidFill>
                <a:srgbClr val="540E0E">
                  <a:lumMod val="75000"/>
                  <a:lumOff val="2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81195" y="4848315"/>
            <a:ext cx="4870585" cy="2738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endParaRPr lang="pl-PL" dirty="0">
              <a:solidFill>
                <a:srgbClr val="540E0E">
                  <a:lumMod val="75000"/>
                  <a:lumOff val="2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084494" y="4851561"/>
            <a:ext cx="770468" cy="273844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E36F00A9-ACD1-46EE-9E33-F59434DF6F3B}" type="slidenum">
              <a:rPr lang="pl-PL" smtClean="0">
                <a:solidFill>
                  <a:srgbClr val="540E0E">
                    <a:lumMod val="75000"/>
                    <a:lumOff val="25000"/>
                  </a:srgbClr>
                </a:solidFill>
              </a:rPr>
              <a:pPr/>
              <a:t>‹#›</a:t>
            </a:fld>
            <a:endParaRPr lang="pl-PL" dirty="0">
              <a:solidFill>
                <a:srgbClr val="540E0E">
                  <a:lumMod val="75000"/>
                  <a:lumOff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5137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ewnętrz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ytuł 1"/>
          <p:cNvSpPr txBox="1">
            <a:spLocks/>
          </p:cNvSpPr>
          <p:nvPr/>
        </p:nvSpPr>
        <p:spPr>
          <a:xfrm>
            <a:off x="1095381" y="2472328"/>
            <a:ext cx="7362825" cy="2157620"/>
          </a:xfrm>
          <a:prstGeom prst="rect">
            <a:avLst/>
          </a:prstGeom>
          <a:ln>
            <a:noFill/>
          </a:ln>
        </p:spPr>
        <p:txBody>
          <a:bodyPr lIns="0" tIns="0" rIns="0" bIns="0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1"/>
                </a:solidFill>
                <a:latin typeface="Tahoma regular"/>
                <a:ea typeface="+mj-ea"/>
                <a:cs typeface="Tahoma regular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pl-PL" sz="1000" dirty="0">
              <a:solidFill>
                <a:prstClr val="black">
                  <a:lumMod val="75000"/>
                  <a:lumOff val="25000"/>
                </a:prstClr>
              </a:solidFill>
              <a:latin typeface="Tahoma"/>
              <a:cs typeface="Tahoma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263236" y="826079"/>
            <a:ext cx="8652164" cy="35680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>
              <a:buNone/>
              <a:defRPr/>
            </a:lvl1pPr>
            <a:lvl2pPr marL="324000" indent="0">
              <a:buNone/>
              <a:defRPr/>
            </a:lvl2pPr>
            <a:lvl3pPr marL="630000" indent="0">
              <a:buNone/>
              <a:defRPr/>
            </a:lvl3pPr>
            <a:lvl4pPr marL="1008000" indent="0">
              <a:buNone/>
              <a:defRPr/>
            </a:lvl4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</p:txBody>
      </p:sp>
    </p:spTree>
    <p:extLst>
      <p:ext uri="{BB962C8B-B14F-4D97-AF65-F5344CB8AC3E}">
        <p14:creationId xmlns:p14="http://schemas.microsoft.com/office/powerpoint/2010/main" val="950954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ewnętrz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ytuł 1"/>
          <p:cNvSpPr txBox="1">
            <a:spLocks/>
          </p:cNvSpPr>
          <p:nvPr/>
        </p:nvSpPr>
        <p:spPr>
          <a:xfrm>
            <a:off x="1095381" y="2472328"/>
            <a:ext cx="7362825" cy="2157620"/>
          </a:xfrm>
          <a:prstGeom prst="rect">
            <a:avLst/>
          </a:prstGeom>
          <a:ln>
            <a:noFill/>
          </a:ln>
        </p:spPr>
        <p:txBody>
          <a:bodyPr lIns="0" tIns="0" rIns="0" bIns="0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1"/>
                </a:solidFill>
                <a:latin typeface="Tahoma regular"/>
                <a:ea typeface="+mj-ea"/>
                <a:cs typeface="Tahoma regular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pl-PL" sz="1000" dirty="0">
              <a:solidFill>
                <a:prstClr val="black">
                  <a:lumMod val="75000"/>
                  <a:lumOff val="25000"/>
                </a:prstClr>
              </a:solidFill>
              <a:latin typeface="Tahoma"/>
              <a:cs typeface="Tahoma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263236" y="826079"/>
            <a:ext cx="8652164" cy="35680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>
              <a:buNone/>
              <a:defRPr/>
            </a:lvl1pPr>
            <a:lvl2pPr marL="324000" indent="0">
              <a:buNone/>
              <a:defRPr/>
            </a:lvl2pPr>
            <a:lvl3pPr marL="630000" indent="0">
              <a:buNone/>
              <a:defRPr/>
            </a:lvl3pPr>
            <a:lvl4pPr marL="1008000" indent="0">
              <a:buNone/>
              <a:defRPr/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</p:txBody>
      </p:sp>
      <p:pic>
        <p:nvPicPr>
          <p:cNvPr id="4" name="Picture 6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31" y="87475"/>
            <a:ext cx="8568951" cy="9181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2" descr="logoPGGbig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32242" y="197786"/>
            <a:ext cx="1997066" cy="643472"/>
          </a:xfrm>
          <a:prstGeom prst="rect">
            <a:avLst/>
          </a:prstGeom>
        </p:spPr>
      </p:pic>
      <p:sp>
        <p:nvSpPr>
          <p:cNvPr id="6" name="Text Placeholder 2"/>
          <p:cNvSpPr>
            <a:spLocks noGrp="1"/>
          </p:cNvSpPr>
          <p:nvPr>
            <p:ph type="body" idx="10"/>
          </p:nvPr>
        </p:nvSpPr>
        <p:spPr>
          <a:xfrm>
            <a:off x="468454" y="294314"/>
            <a:ext cx="5759732" cy="45041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 cap="all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165567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48091" y="2314324"/>
            <a:ext cx="8240109" cy="247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8096" y="411511"/>
            <a:ext cx="8240107" cy="1460073"/>
          </a:xfrm>
          <a:prstGeom prst="rect">
            <a:avLst/>
          </a:prstGeom>
          <a:solidFill>
            <a:schemeClr val="bg1">
              <a:lumMod val="85000"/>
            </a:schemeClr>
          </a:solidFill>
          <a:effectLst/>
        </p:spPr>
        <p:txBody>
          <a:bodyPr anchor="b">
            <a:norm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pl-PL" dirty="0"/>
              <a:t>Kliknij, aby edytować sty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1193" y="1871586"/>
            <a:ext cx="7989753" cy="442741"/>
          </a:xfrm>
        </p:spPr>
        <p:txBody>
          <a:bodyPr anchor="t">
            <a:normAutofit/>
          </a:bodyPr>
          <a:lstStyle>
            <a:lvl1pPr marL="0" indent="0" algn="l">
              <a:buNone/>
              <a:defRPr sz="1600" cap="all">
                <a:solidFill>
                  <a:schemeClr val="accent3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l-PL"/>
              <a:t>Kliknij, aby edytować styl wzorca podtytułu</a:t>
            </a:r>
            <a:endParaRPr lang="en-US" dirty="0"/>
          </a:p>
        </p:txBody>
      </p:sp>
      <p:pic>
        <p:nvPicPr>
          <p:cNvPr id="5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096" y="2314324"/>
            <a:ext cx="8240107" cy="247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440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V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0304760"/>
              </p:ext>
            </p:extLst>
          </p:nvPr>
        </p:nvGraphicFramePr>
        <p:xfrm>
          <a:off x="1590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1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9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053380" y="4942012"/>
            <a:ext cx="770468" cy="92869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E36F00A9-ACD1-46EE-9E33-F59434DF6F3B}" type="slidenum">
              <a:rPr lang="pl-PL" smtClean="0">
                <a:solidFill>
                  <a:prstClr val="black"/>
                </a:solidFill>
              </a:rPr>
              <a:pPr/>
              <a:t>‹#›</a:t>
            </a:fld>
            <a:endParaRPr lang="pl-PL" dirty="0">
              <a:solidFill>
                <a:prstClr val="black"/>
              </a:solidFill>
            </a:endParaRPr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533233" y="4896005"/>
            <a:ext cx="8122456" cy="123111"/>
          </a:xfrm>
        </p:spPr>
        <p:txBody>
          <a:bodyPr wrap="square" lIns="0" tIns="0" rIns="0" bIns="0" anchor="b">
            <a:spAutoFit/>
          </a:bodyPr>
          <a:lstStyle>
            <a:lvl1pPr marL="0" indent="0">
              <a:spcAft>
                <a:spcPts val="0"/>
              </a:spcAft>
              <a:buNone/>
              <a:defRPr sz="800" b="0">
                <a:solidFill>
                  <a:schemeClr val="tx1"/>
                </a:solidFill>
                <a:latin typeface="+mn-lt"/>
              </a:defRPr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 sz="1000"/>
            </a:lvl3pPr>
            <a:lvl4pPr>
              <a:spcAft>
                <a:spcPts val="0"/>
              </a:spcAft>
              <a:defRPr sz="1000"/>
            </a:lvl4pPr>
            <a:lvl5pPr>
              <a:spcAft>
                <a:spcPts val="0"/>
              </a:spcAft>
              <a:defRPr sz="1000"/>
            </a:lvl5pPr>
          </a:lstStyle>
          <a:p>
            <a:pPr lvl="0"/>
            <a:r>
              <a:rPr lang="pl-PL" dirty="0"/>
              <a:t>&lt;</a:t>
            </a:r>
            <a:r>
              <a:rPr lang="pl-PL" dirty="0" err="1"/>
              <a:t>Enter</a:t>
            </a:r>
            <a:r>
              <a:rPr lang="pl-PL" dirty="0"/>
              <a:t> </a:t>
            </a:r>
            <a:r>
              <a:rPr lang="pl-PL" dirty="0" err="1"/>
              <a:t>source</a:t>
            </a:r>
            <a:r>
              <a:rPr lang="pl-PL" dirty="0"/>
              <a:t> </a:t>
            </a:r>
            <a:r>
              <a:rPr lang="pl-PL" dirty="0" err="1"/>
              <a:t>here</a:t>
            </a:r>
            <a:r>
              <a:rPr lang="pl-PL" dirty="0"/>
              <a:t>&gt;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263236" y="826079"/>
            <a:ext cx="8652164" cy="35680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</p:txBody>
      </p:sp>
      <p:pic>
        <p:nvPicPr>
          <p:cNvPr id="10" name="Picture 11" descr="logoPGGbig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27839" y="3"/>
            <a:ext cx="1310052" cy="415120"/>
          </a:xfrm>
          <a:prstGeom prst="rect">
            <a:avLst/>
          </a:prstGeom>
        </p:spPr>
      </p:pic>
      <p:cxnSp>
        <p:nvCxnSpPr>
          <p:cNvPr id="7" name="Łącznik prostoliniowy 6"/>
          <p:cNvCxnSpPr/>
          <p:nvPr userDrawn="1"/>
        </p:nvCxnSpPr>
        <p:spPr>
          <a:xfrm>
            <a:off x="488320" y="465827"/>
            <a:ext cx="8122282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4741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1283" userDrawn="1">
          <p15:clr>
            <a:srgbClr val="FBAE40"/>
          </p15:clr>
        </p15:guide>
        <p15:guide id="2" pos="302" userDrawn="1">
          <p15:clr>
            <a:srgbClr val="FBAE40"/>
          </p15:clr>
        </p15:guide>
        <p15:guide id="3" pos="5424" userDrawn="1">
          <p15:clr>
            <a:srgbClr val="FBAE40"/>
          </p15:clr>
        </p15:guide>
        <p15:guide id="4" orient="horz" pos="3975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spect="1"/>
          </p:cNvSpPr>
          <p:nvPr/>
        </p:nvSpPr>
        <p:spPr>
          <a:xfrm>
            <a:off x="0" y="4866523"/>
            <a:ext cx="9144000" cy="284793"/>
          </a:xfrm>
          <a:prstGeom prst="rect">
            <a:avLst/>
          </a:prstGeom>
          <a:solidFill>
            <a:srgbClr val="78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6" y="2277431"/>
            <a:ext cx="7989751" cy="112863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3600" b="0" cap="all">
                <a:solidFill>
                  <a:schemeClr val="accent1"/>
                </a:solidFill>
              </a:defRPr>
            </a:lvl1pPr>
          </a:lstStyle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1196" y="3406064"/>
            <a:ext cx="7989751" cy="45041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 cap="all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559327" y="4851561"/>
            <a:ext cx="2133600" cy="273844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endParaRPr lang="pl-PL" dirty="0">
              <a:solidFill>
                <a:srgbClr val="540E0E">
                  <a:lumMod val="75000"/>
                  <a:lumOff val="2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81195" y="4848315"/>
            <a:ext cx="4870585" cy="2738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endParaRPr lang="pl-PL" dirty="0">
              <a:solidFill>
                <a:srgbClr val="540E0E">
                  <a:lumMod val="75000"/>
                  <a:lumOff val="2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084494" y="4851561"/>
            <a:ext cx="770468" cy="273844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E36F00A9-ACD1-46EE-9E33-F59434DF6F3B}" type="slidenum">
              <a:rPr lang="pl-PL" smtClean="0">
                <a:solidFill>
                  <a:srgbClr val="540E0E">
                    <a:lumMod val="75000"/>
                    <a:lumOff val="25000"/>
                  </a:srgbClr>
                </a:solidFill>
              </a:rPr>
              <a:pPr/>
              <a:t>‹#›</a:t>
            </a:fld>
            <a:endParaRPr lang="pl-PL" dirty="0">
              <a:solidFill>
                <a:srgbClr val="540E0E">
                  <a:lumMod val="75000"/>
                  <a:lumOff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8737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ewnętrzn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ytuł 1"/>
          <p:cNvSpPr txBox="1">
            <a:spLocks/>
          </p:cNvSpPr>
          <p:nvPr/>
        </p:nvSpPr>
        <p:spPr>
          <a:xfrm>
            <a:off x="1095381" y="2472328"/>
            <a:ext cx="7362825" cy="2157620"/>
          </a:xfrm>
          <a:prstGeom prst="rect">
            <a:avLst/>
          </a:prstGeom>
          <a:ln>
            <a:noFill/>
          </a:ln>
        </p:spPr>
        <p:txBody>
          <a:bodyPr lIns="0" tIns="0" rIns="0" bIns="0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1"/>
                </a:solidFill>
                <a:latin typeface="Tahoma regular"/>
                <a:ea typeface="+mj-ea"/>
                <a:cs typeface="Tahoma regular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pl-PL" sz="1000" dirty="0">
              <a:solidFill>
                <a:prstClr val="black">
                  <a:lumMod val="75000"/>
                  <a:lumOff val="25000"/>
                </a:prstClr>
              </a:solidFill>
              <a:latin typeface="Tahoma"/>
              <a:cs typeface="Tahoma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263236" y="826079"/>
            <a:ext cx="8652164" cy="35680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>
              <a:buNone/>
              <a:defRPr/>
            </a:lvl1pPr>
            <a:lvl2pPr marL="324000" indent="0">
              <a:buNone/>
              <a:defRPr/>
            </a:lvl2pPr>
            <a:lvl3pPr marL="630000" indent="0">
              <a:buNone/>
              <a:defRPr/>
            </a:lvl3pPr>
            <a:lvl4pPr marL="1008000" indent="0">
              <a:buNone/>
              <a:defRPr/>
            </a:lvl4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</p:txBody>
      </p:sp>
    </p:spTree>
    <p:extLst>
      <p:ext uri="{BB962C8B-B14F-4D97-AF65-F5344CB8AC3E}">
        <p14:creationId xmlns:p14="http://schemas.microsoft.com/office/powerpoint/2010/main" val="3289874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3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9.xml"/><Relationship Id="rId9" Type="http://schemas.openxmlformats.org/officeDocument/2006/relationships/oleObject" Target="../embeddings/oleObject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3236" y="826079"/>
            <a:ext cx="8652164" cy="35680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59327" y="4467105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endParaRPr lang="pl-PL" dirty="0">
              <a:solidFill>
                <a:srgbClr val="7D151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00477" y="4467105"/>
            <a:ext cx="770468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E36F00A9-ACD1-46EE-9E33-F59434DF6F3B}" type="slidenum">
              <a:rPr lang="pl-PL" smtClean="0">
                <a:solidFill>
                  <a:srgbClr val="7D1515"/>
                </a:solidFill>
              </a:rPr>
              <a:pPr/>
              <a:t>‹#›</a:t>
            </a:fld>
            <a:endParaRPr lang="pl-PL" dirty="0">
              <a:solidFill>
                <a:srgbClr val="7D1515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594611938"/>
              </p:ext>
            </p:extLst>
          </p:nvPr>
        </p:nvGraphicFramePr>
        <p:xfrm>
          <a:off x="1590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1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1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2"/>
          <p:cNvSpPr txBox="1">
            <a:spLocks/>
          </p:cNvSpPr>
          <p:nvPr/>
        </p:nvSpPr>
        <p:spPr>
          <a:xfrm>
            <a:off x="263236" y="9071"/>
            <a:ext cx="7377546" cy="71768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100" b="0" kern="1200" cap="none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endParaRPr lang="pl-PL" sz="2000" dirty="0">
              <a:solidFill>
                <a:srgbClr val="78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1456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457200" rtl="0" eaLnBrk="1" latinLnBrk="0" hangingPunct="1">
        <a:spcBef>
          <a:spcPct val="0"/>
        </a:spcBef>
        <a:buNone/>
        <a:defRPr sz="2800" b="0" kern="1200" cap="all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06000" indent="-306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30000" indent="-306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00000" indent="-270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1242000" indent="-234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1602000" indent="-234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9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22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7pPr>
      <a:lvl8pPr marL="25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8pPr>
      <a:lvl9pPr marL="28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3236" y="826079"/>
            <a:ext cx="8652164" cy="35680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59327" y="4467105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endParaRPr lang="pl-PL" dirty="0">
              <a:solidFill>
                <a:srgbClr val="7D1515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00477" y="4467105"/>
            <a:ext cx="770468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E36F00A9-ACD1-46EE-9E33-F59434DF6F3B}" type="slidenum">
              <a:rPr lang="pl-PL" smtClean="0">
                <a:solidFill>
                  <a:srgbClr val="7D1515"/>
                </a:solidFill>
              </a:rPr>
              <a:pPr/>
              <a:t>‹#›</a:t>
            </a:fld>
            <a:endParaRPr lang="pl-PL" dirty="0">
              <a:solidFill>
                <a:srgbClr val="7D1515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46437904"/>
              </p:ext>
            </p:extLst>
          </p:nvPr>
        </p:nvGraphicFramePr>
        <p:xfrm>
          <a:off x="1590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9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93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2"/>
          <p:cNvSpPr txBox="1">
            <a:spLocks/>
          </p:cNvSpPr>
          <p:nvPr/>
        </p:nvSpPr>
        <p:spPr>
          <a:xfrm>
            <a:off x="263236" y="9071"/>
            <a:ext cx="7377546" cy="71768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100" b="0" kern="1200" cap="none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endParaRPr lang="pl-PL" sz="2000" dirty="0">
              <a:solidFill>
                <a:srgbClr val="78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5742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  <p:sldLayoutId id="2147483811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457200" rtl="0" eaLnBrk="1" latinLnBrk="0" hangingPunct="1">
        <a:spcBef>
          <a:spcPct val="0"/>
        </a:spcBef>
        <a:buNone/>
        <a:defRPr sz="2800" b="0" kern="1200" cap="all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06000" indent="-306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30000" indent="-306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00000" indent="-270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1242000" indent="-234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1602000" indent="-234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9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22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7pPr>
      <a:lvl8pPr marL="25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8pPr>
      <a:lvl9pPr marL="28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6.png"/><Relationship Id="rId4" Type="http://schemas.openxmlformats.org/officeDocument/2006/relationships/image" Target="../media/image15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7" Type="http://schemas.openxmlformats.org/officeDocument/2006/relationships/image" Target="../media/image19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8.jpeg"/><Relationship Id="rId5" Type="http://schemas.openxmlformats.org/officeDocument/2006/relationships/chart" Target="../charts/chart1.xml"/><Relationship Id="rId4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13" Type="http://schemas.openxmlformats.org/officeDocument/2006/relationships/diagramColors" Target="../diagrams/colors2.xml"/><Relationship Id="rId3" Type="http://schemas.openxmlformats.org/officeDocument/2006/relationships/image" Target="../media/image20.jpeg"/><Relationship Id="rId7" Type="http://schemas.openxmlformats.org/officeDocument/2006/relationships/diagramQuickStyle" Target="../diagrams/quickStyle1.xml"/><Relationship Id="rId12" Type="http://schemas.openxmlformats.org/officeDocument/2006/relationships/diagramQuickStyle" Target="../diagrams/quickStyle2.xml"/><Relationship Id="rId2" Type="http://schemas.openxmlformats.org/officeDocument/2006/relationships/notesSlide" Target="../notesSlides/notesSlide12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4.xml"/><Relationship Id="rId6" Type="http://schemas.openxmlformats.org/officeDocument/2006/relationships/diagramLayout" Target="../diagrams/layout1.xml"/><Relationship Id="rId11" Type="http://schemas.openxmlformats.org/officeDocument/2006/relationships/diagramLayout" Target="../diagrams/layout2.xml"/><Relationship Id="rId5" Type="http://schemas.openxmlformats.org/officeDocument/2006/relationships/diagramData" Target="../diagrams/data1.xml"/><Relationship Id="rId15" Type="http://schemas.openxmlformats.org/officeDocument/2006/relationships/image" Target="../media/image22.png"/><Relationship Id="rId10" Type="http://schemas.openxmlformats.org/officeDocument/2006/relationships/diagramData" Target="../diagrams/data2.xml"/><Relationship Id="rId4" Type="http://schemas.openxmlformats.org/officeDocument/2006/relationships/image" Target="../media/image21.png"/><Relationship Id="rId9" Type="http://schemas.microsoft.com/office/2007/relationships/diagramDrawing" Target="../diagrams/drawing1.xml"/><Relationship Id="rId14" Type="http://schemas.microsoft.com/office/2007/relationships/diagramDrawing" Target="../diagrams/drawing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3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3.emf"/><Relationship Id="rId3" Type="http://schemas.openxmlformats.org/officeDocument/2006/relationships/image" Target="../media/image24.emf"/><Relationship Id="rId7" Type="http://schemas.openxmlformats.org/officeDocument/2006/relationships/image" Target="../media/image27.png"/><Relationship Id="rId12" Type="http://schemas.openxmlformats.org/officeDocument/2006/relationships/image" Target="../media/image3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6.png"/><Relationship Id="rId11" Type="http://schemas.openxmlformats.org/officeDocument/2006/relationships/image" Target="../media/image31.png"/><Relationship Id="rId5" Type="http://schemas.openxmlformats.org/officeDocument/2006/relationships/image" Target="../media/image25.png"/><Relationship Id="rId15" Type="http://schemas.openxmlformats.org/officeDocument/2006/relationships/image" Target="../media/image35.emf"/><Relationship Id="rId10" Type="http://schemas.openxmlformats.org/officeDocument/2006/relationships/image" Target="../media/image30.png"/><Relationship Id="rId4" Type="http://schemas.openxmlformats.org/officeDocument/2006/relationships/image" Target="../media/image6.png"/><Relationship Id="rId9" Type="http://schemas.openxmlformats.org/officeDocument/2006/relationships/image" Target="../media/image29.png"/><Relationship Id="rId14" Type="http://schemas.openxmlformats.org/officeDocument/2006/relationships/image" Target="../media/image34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4.emf"/><Relationship Id="rId5" Type="http://schemas.openxmlformats.org/officeDocument/2006/relationships/image" Target="../media/image6.png"/><Relationship Id="rId4" Type="http://schemas.openxmlformats.org/officeDocument/2006/relationships/image" Target="../media/image1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ole tekstowe 8"/>
          <p:cNvSpPr txBox="1"/>
          <p:nvPr/>
        </p:nvSpPr>
        <p:spPr>
          <a:xfrm>
            <a:off x="247857" y="1707654"/>
            <a:ext cx="520290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ocially acceptable transition with the support for new technologies</a:t>
            </a:r>
          </a:p>
        </p:txBody>
      </p:sp>
      <p:pic>
        <p:nvPicPr>
          <p:cNvPr id="2" name="Obraz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857" y="195486"/>
            <a:ext cx="2511770" cy="1079086"/>
          </a:xfrm>
          <a:prstGeom prst="rect">
            <a:avLst/>
          </a:prstGeom>
        </p:spPr>
      </p:pic>
      <p:pic>
        <p:nvPicPr>
          <p:cNvPr id="3" name="Obraz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0760" y="198470"/>
            <a:ext cx="3693241" cy="4356000"/>
          </a:xfrm>
          <a:prstGeom prst="rect">
            <a:avLst/>
          </a:prstGeom>
        </p:spPr>
      </p:pic>
      <p:sp>
        <p:nvSpPr>
          <p:cNvPr id="7" name="pole tekstowe 6">
            <a:extLst>
              <a:ext uri="{FF2B5EF4-FFF2-40B4-BE49-F238E27FC236}">
                <a16:creationId xmlns:a16="http://schemas.microsoft.com/office/drawing/2014/main" id="{D48BFD43-AACD-44AD-8180-A747B9CF2EA5}"/>
              </a:ext>
            </a:extLst>
          </p:cNvPr>
          <p:cNvSpPr txBox="1"/>
          <p:nvPr/>
        </p:nvSpPr>
        <p:spPr>
          <a:xfrm>
            <a:off x="2" y="4801632"/>
            <a:ext cx="9143999" cy="3385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pl-PL" sz="1600" b="1" i="1" dirty="0">
                <a:solidFill>
                  <a:schemeClr val="bg2">
                    <a:lumMod val="50000"/>
                  </a:schemeClr>
                </a:solidFill>
                <a:cs typeface="Calibri" panose="020F0502020204030204" pitchFamily="34" charset="0"/>
              </a:rPr>
              <a:t>Energy Conference 2019, Sofia, 17 May</a:t>
            </a:r>
            <a:r>
              <a:rPr lang="en-GB" sz="1600" b="1" i="1" dirty="0">
                <a:solidFill>
                  <a:schemeClr val="bg2">
                    <a:lumMod val="50000"/>
                  </a:schemeClr>
                </a:solidFill>
                <a:cs typeface="Calibri" panose="020F0502020204030204" pitchFamily="34" charset="0"/>
              </a:rPr>
              <a:t> 201</a:t>
            </a:r>
            <a:r>
              <a:rPr lang="pl-PL" sz="1600" b="1" i="1" dirty="0">
                <a:solidFill>
                  <a:schemeClr val="bg2">
                    <a:lumMod val="50000"/>
                  </a:schemeClr>
                </a:solidFill>
                <a:cs typeface="Calibri" panose="020F0502020204030204" pitchFamily="34" charset="0"/>
              </a:rPr>
              <a:t>9 r.</a:t>
            </a:r>
            <a:r>
              <a:rPr lang="en-GB" sz="1600" b="1" i="1" dirty="0">
                <a:solidFill>
                  <a:schemeClr val="bg2">
                    <a:lumMod val="50000"/>
                  </a:schemeClr>
                </a:solidFill>
                <a:cs typeface="Calibri" panose="020F0502020204030204" pitchFamily="34" charset="0"/>
              </a:rPr>
              <a:t> </a:t>
            </a:r>
            <a:endParaRPr lang="en-GB" b="1" i="1" dirty="0">
              <a:solidFill>
                <a:schemeClr val="bg2">
                  <a:lumMod val="50000"/>
                </a:schemeClr>
              </a:solidFill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5800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Łącznik prosty 4"/>
          <p:cNvCxnSpPr/>
          <p:nvPr/>
        </p:nvCxnSpPr>
        <p:spPr>
          <a:xfrm>
            <a:off x="859126" y="1"/>
            <a:ext cx="0" cy="52279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ole tekstowe 9"/>
          <p:cNvSpPr txBox="1"/>
          <p:nvPr/>
        </p:nvSpPr>
        <p:spPr>
          <a:xfrm>
            <a:off x="827584" y="225182"/>
            <a:ext cx="730159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V </a:t>
            </a:r>
            <a:r>
              <a:rPr lang="en-AU" sz="2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roject pursued </a:t>
            </a:r>
            <a:r>
              <a:rPr lang="pl-PL" sz="2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by PGG - </a:t>
            </a:r>
            <a:r>
              <a:rPr lang="en-AU" sz="2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ssumptions</a:t>
            </a:r>
          </a:p>
        </p:txBody>
      </p:sp>
      <p:sp>
        <p:nvSpPr>
          <p:cNvPr id="15" name="Symbol zastępczy numeru slajdu 2"/>
          <p:cNvSpPr txBox="1">
            <a:spLocks/>
          </p:cNvSpPr>
          <p:nvPr/>
        </p:nvSpPr>
        <p:spPr>
          <a:xfrm>
            <a:off x="6457951" y="6392834"/>
            <a:ext cx="1851848" cy="328646"/>
          </a:xfrm>
          <a:prstGeom prst="rect">
            <a:avLst/>
          </a:prstGeom>
        </p:spPr>
        <p:txBody>
          <a:bodyPr/>
          <a:lstStyle>
            <a:defPPr>
              <a:defRPr lang="pl-P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1903DCD-27CB-4E68-94D6-0EB6FA1FC2E1}" type="slidenum">
              <a:rPr lang="pl-PL" smtClean="0">
                <a:solidFill>
                  <a:schemeClr val="bg1"/>
                </a:solidFill>
              </a:rPr>
              <a:pPr/>
              <a:t>10</a:t>
            </a:fld>
            <a:endParaRPr lang="pl-PL" dirty="0">
              <a:solidFill>
                <a:schemeClr val="bg1"/>
              </a:solidFill>
            </a:endParaRPr>
          </a:p>
        </p:txBody>
      </p:sp>
      <p:pic>
        <p:nvPicPr>
          <p:cNvPr id="29" name="Obraz 28">
            <a:extLst>
              <a:ext uri="{FF2B5EF4-FFF2-40B4-BE49-F238E27FC236}">
                <a16:creationId xmlns:a16="http://schemas.microsoft.com/office/drawing/2014/main" id="{9E6D2463-54C1-4B78-9080-1DF3F07AADA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6325" y="52990"/>
            <a:ext cx="521892" cy="615547"/>
          </a:xfrm>
          <a:prstGeom prst="rect">
            <a:avLst/>
          </a:prstGeom>
        </p:spPr>
      </p:pic>
      <p:sp>
        <p:nvSpPr>
          <p:cNvPr id="9" name="Prostokąt zaokrąglony 14">
            <a:extLst>
              <a:ext uri="{FF2B5EF4-FFF2-40B4-BE49-F238E27FC236}">
                <a16:creationId xmlns:a16="http://schemas.microsoft.com/office/drawing/2014/main" id="{76FEBDE2-38D4-4DD4-9E18-9CC468413782}"/>
              </a:ext>
            </a:extLst>
          </p:cNvPr>
          <p:cNvSpPr/>
          <p:nvPr/>
        </p:nvSpPr>
        <p:spPr>
          <a:xfrm>
            <a:off x="880308" y="1441064"/>
            <a:ext cx="1344387" cy="797121"/>
          </a:xfrm>
          <a:prstGeom prst="roundRect">
            <a:avLst/>
          </a:prstGeom>
          <a:noFill/>
          <a:ln>
            <a:solidFill>
              <a:srgbClr val="B40E0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2800" b="1" dirty="0">
                <a:solidFill>
                  <a:srgbClr val="C00000"/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95</a:t>
            </a:r>
            <a:r>
              <a:rPr lang="pl-PL" sz="2800" dirty="0">
                <a:solidFill>
                  <a:srgbClr val="C00000"/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 </a:t>
            </a:r>
          </a:p>
          <a:p>
            <a:pPr algn="ctr"/>
            <a:r>
              <a:rPr lang="pl-PL" b="1" dirty="0">
                <a:solidFill>
                  <a:srgbClr val="C00000"/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 MWp</a:t>
            </a:r>
            <a:endParaRPr lang="pl-PL" sz="3200" b="1" baseline="30000" dirty="0">
              <a:solidFill>
                <a:schemeClr val="tx1"/>
              </a:solidFill>
              <a:latin typeface="Calibri" panose="020F050202020403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1" name="Prostokąt zaokrąglony 17">
            <a:extLst>
              <a:ext uri="{FF2B5EF4-FFF2-40B4-BE49-F238E27FC236}">
                <a16:creationId xmlns:a16="http://schemas.microsoft.com/office/drawing/2014/main" id="{6C83F5F8-4961-4FC0-81D6-8DFB76876736}"/>
              </a:ext>
            </a:extLst>
          </p:cNvPr>
          <p:cNvSpPr/>
          <p:nvPr/>
        </p:nvSpPr>
        <p:spPr>
          <a:xfrm>
            <a:off x="2255888" y="1439640"/>
            <a:ext cx="2892176" cy="798758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dirty="0" err="1">
                <a:solidFill>
                  <a:schemeClr val="bg1"/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Peak</a:t>
            </a:r>
            <a:r>
              <a:rPr lang="pl-PL" sz="2400" dirty="0">
                <a:solidFill>
                  <a:schemeClr val="bg1"/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pl-PL" sz="2400" dirty="0" err="1">
                <a:solidFill>
                  <a:schemeClr val="bg1"/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power</a:t>
            </a:r>
            <a:endParaRPr lang="pl-PL" sz="2400" dirty="0">
              <a:solidFill>
                <a:schemeClr val="bg1"/>
              </a:solidFill>
              <a:latin typeface="Calibri" panose="020F050202020403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2" name="Prostokąt zaokrąglony 14">
            <a:extLst>
              <a:ext uri="{FF2B5EF4-FFF2-40B4-BE49-F238E27FC236}">
                <a16:creationId xmlns:a16="http://schemas.microsoft.com/office/drawing/2014/main" id="{BCF685D5-9847-4EAC-AEED-F1B441AE11FB}"/>
              </a:ext>
            </a:extLst>
          </p:cNvPr>
          <p:cNvSpPr/>
          <p:nvPr/>
        </p:nvSpPr>
        <p:spPr>
          <a:xfrm>
            <a:off x="880308" y="2407871"/>
            <a:ext cx="1344387" cy="797121"/>
          </a:xfrm>
          <a:prstGeom prst="roundRect">
            <a:avLst/>
          </a:prstGeom>
          <a:noFill/>
          <a:ln>
            <a:solidFill>
              <a:srgbClr val="B40E0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2800" b="1" dirty="0">
                <a:solidFill>
                  <a:srgbClr val="C00000"/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70 </a:t>
            </a:r>
            <a:br>
              <a:rPr lang="pl-PL" sz="2800" b="1" dirty="0">
                <a:solidFill>
                  <a:srgbClr val="C00000"/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</a:br>
            <a:r>
              <a:rPr lang="pl-PL" sz="1600" b="1" dirty="0">
                <a:solidFill>
                  <a:srgbClr val="C00000"/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mln EUR</a:t>
            </a:r>
            <a:endParaRPr lang="pl-PL" sz="2800" b="1" baseline="30000" dirty="0">
              <a:solidFill>
                <a:schemeClr val="tx1"/>
              </a:solidFill>
              <a:latin typeface="Calibri" panose="020F050202020403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3" name="Prostokąt zaokrąglony 17">
            <a:extLst>
              <a:ext uri="{FF2B5EF4-FFF2-40B4-BE49-F238E27FC236}">
                <a16:creationId xmlns:a16="http://schemas.microsoft.com/office/drawing/2014/main" id="{2E4CBB3B-7DBC-43A0-B64F-4F287346485A}"/>
              </a:ext>
            </a:extLst>
          </p:cNvPr>
          <p:cNvSpPr/>
          <p:nvPr/>
        </p:nvSpPr>
        <p:spPr>
          <a:xfrm>
            <a:off x="2245482" y="2407872"/>
            <a:ext cx="2902582" cy="798758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dirty="0">
                <a:latin typeface="Calibri" pitchFamily="34" charset="0"/>
              </a:rPr>
              <a:t>Investment </a:t>
            </a:r>
            <a:r>
              <a:rPr lang="pl-PL" sz="2400" dirty="0" err="1">
                <a:latin typeface="Calibri" pitchFamily="34" charset="0"/>
              </a:rPr>
              <a:t>expenses</a:t>
            </a:r>
            <a:endParaRPr lang="en-US" sz="2400" dirty="0">
              <a:solidFill>
                <a:schemeClr val="bg1"/>
              </a:solidFill>
              <a:latin typeface="Calibri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4" name="Prostokąt zaokrąglony 14">
            <a:extLst>
              <a:ext uri="{FF2B5EF4-FFF2-40B4-BE49-F238E27FC236}">
                <a16:creationId xmlns:a16="http://schemas.microsoft.com/office/drawing/2014/main" id="{A3DDFCF8-9497-47FF-B800-AEB58071F040}"/>
              </a:ext>
            </a:extLst>
          </p:cNvPr>
          <p:cNvSpPr/>
          <p:nvPr/>
        </p:nvSpPr>
        <p:spPr>
          <a:xfrm>
            <a:off x="880308" y="3374465"/>
            <a:ext cx="1344387" cy="797121"/>
          </a:xfrm>
          <a:prstGeom prst="roundRect">
            <a:avLst/>
          </a:prstGeom>
          <a:noFill/>
          <a:ln>
            <a:solidFill>
              <a:srgbClr val="B40E0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2800" b="1" dirty="0">
                <a:solidFill>
                  <a:srgbClr val="C00000"/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60,000</a:t>
            </a:r>
          </a:p>
          <a:p>
            <a:pPr algn="ctr"/>
            <a:r>
              <a:rPr lang="pl-PL" sz="1600" b="1" dirty="0">
                <a:solidFill>
                  <a:srgbClr val="C00000"/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TONS CO</a:t>
            </a:r>
            <a:r>
              <a:rPr lang="pl-PL" sz="1600" b="1" baseline="-25000" dirty="0">
                <a:solidFill>
                  <a:srgbClr val="C00000"/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2</a:t>
            </a:r>
            <a:endParaRPr lang="pl-PL" sz="1600" b="1" baseline="30000" dirty="0">
              <a:solidFill>
                <a:schemeClr val="tx1"/>
              </a:solidFill>
              <a:latin typeface="Calibri" panose="020F050202020403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6" name="Prostokąt zaokrąglony 17">
            <a:extLst>
              <a:ext uri="{FF2B5EF4-FFF2-40B4-BE49-F238E27FC236}">
                <a16:creationId xmlns:a16="http://schemas.microsoft.com/office/drawing/2014/main" id="{68360C11-A376-489B-BC11-2DB4115AF4A3}"/>
              </a:ext>
            </a:extLst>
          </p:cNvPr>
          <p:cNvSpPr/>
          <p:nvPr/>
        </p:nvSpPr>
        <p:spPr>
          <a:xfrm>
            <a:off x="2245482" y="3374466"/>
            <a:ext cx="2902582" cy="798758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400" dirty="0" err="1">
                <a:solidFill>
                  <a:schemeClr val="bg1"/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Emission</a:t>
            </a:r>
            <a:r>
              <a:rPr lang="pl-PL" sz="2400" dirty="0">
                <a:solidFill>
                  <a:schemeClr val="bg1"/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 to </a:t>
            </a:r>
            <a:r>
              <a:rPr lang="pl-PL" sz="2400" dirty="0" err="1">
                <a:solidFill>
                  <a:schemeClr val="bg1"/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avoid</a:t>
            </a:r>
            <a:endParaRPr lang="en-US" sz="2400" dirty="0">
              <a:solidFill>
                <a:schemeClr val="bg1"/>
              </a:solidFill>
              <a:latin typeface="Calibri" panose="020F0502020204030204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17" name="Obraz 16">
            <a:extLst>
              <a:ext uri="{FF2B5EF4-FFF2-40B4-BE49-F238E27FC236}">
                <a16:creationId xmlns:a16="http://schemas.microsoft.com/office/drawing/2014/main" id="{CA5C4B63-0AE2-46FA-B886-513C82E247C6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228184" y="2355726"/>
            <a:ext cx="2648012" cy="203748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9" name="Obraz 18">
            <a:extLst>
              <a:ext uri="{FF2B5EF4-FFF2-40B4-BE49-F238E27FC236}">
                <a16:creationId xmlns:a16="http://schemas.microsoft.com/office/drawing/2014/main" id="{3DBACF02-A8D8-4BB4-A848-CEA82C3E46A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23804" y="988736"/>
            <a:ext cx="2693530" cy="195086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8" name="pole tekstowe 17">
            <a:extLst>
              <a:ext uri="{FF2B5EF4-FFF2-40B4-BE49-F238E27FC236}">
                <a16:creationId xmlns:a16="http://schemas.microsoft.com/office/drawing/2014/main" id="{8EC98C1C-4A07-430D-A60F-196C281B17ED}"/>
              </a:ext>
            </a:extLst>
          </p:cNvPr>
          <p:cNvSpPr txBox="1"/>
          <p:nvPr/>
        </p:nvSpPr>
        <p:spPr>
          <a:xfrm>
            <a:off x="8777845" y="4866501"/>
            <a:ext cx="3661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>
                <a:latin typeface="Calibri" panose="020F0502020204030204" pitchFamily="34" charset="0"/>
                <a:cs typeface="Calibri" panose="020F0502020204030204" pitchFamily="34" charset="0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2169613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500"/>
                            </p:stCondLst>
                            <p:childTnLst>
                              <p:par>
                                <p:cTn id="32" presetID="6" presetClass="entr" presetSubtype="32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34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6" presetClass="entr" presetSubtype="3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3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" grpId="0" animBg="1"/>
      <p:bldP spid="12" grpId="0" animBg="1"/>
      <p:bldP spid="13" grpId="0" animBg="1"/>
      <p:bldP spid="14" grpId="0" animBg="1"/>
      <p:bldP spid="16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Obraz 29">
            <a:extLst>
              <a:ext uri="{FF2B5EF4-FFF2-40B4-BE49-F238E27FC236}">
                <a16:creationId xmlns:a16="http://schemas.microsoft.com/office/drawing/2014/main" id="{F9B61175-4390-4031-AE03-DBFE2F61BF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16433" y="958913"/>
            <a:ext cx="1909892" cy="204379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cxnSp>
        <p:nvCxnSpPr>
          <p:cNvPr id="5" name="Łącznik prosty 4"/>
          <p:cNvCxnSpPr/>
          <p:nvPr/>
        </p:nvCxnSpPr>
        <p:spPr>
          <a:xfrm>
            <a:off x="859126" y="1"/>
            <a:ext cx="0" cy="52279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ole tekstowe 9"/>
          <p:cNvSpPr txBox="1"/>
          <p:nvPr/>
        </p:nvSpPr>
        <p:spPr>
          <a:xfrm>
            <a:off x="827584" y="274562"/>
            <a:ext cx="7301590" cy="397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2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Welding</a:t>
            </a:r>
            <a:r>
              <a:rPr lang="pl-PL" sz="2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plant development</a:t>
            </a:r>
            <a:endParaRPr lang="en-GB" sz="2200" b="1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5" name="Symbol zastępczy numeru slajdu 2"/>
          <p:cNvSpPr txBox="1">
            <a:spLocks/>
          </p:cNvSpPr>
          <p:nvPr/>
        </p:nvSpPr>
        <p:spPr>
          <a:xfrm>
            <a:off x="6457951" y="6392834"/>
            <a:ext cx="1851848" cy="328646"/>
          </a:xfrm>
          <a:prstGeom prst="rect">
            <a:avLst/>
          </a:prstGeom>
        </p:spPr>
        <p:txBody>
          <a:bodyPr/>
          <a:lstStyle>
            <a:defPPr>
              <a:defRPr lang="pl-P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1903DCD-27CB-4E68-94D6-0EB6FA1FC2E1}" type="slidenum">
              <a:rPr lang="pl-PL" smtClean="0">
                <a:solidFill>
                  <a:schemeClr val="bg1"/>
                </a:solidFill>
              </a:rPr>
              <a:pPr/>
              <a:t>11</a:t>
            </a:fld>
            <a:endParaRPr lang="pl-PL" dirty="0">
              <a:solidFill>
                <a:schemeClr val="bg1"/>
              </a:solidFill>
            </a:endParaRPr>
          </a:p>
        </p:txBody>
      </p:sp>
      <p:pic>
        <p:nvPicPr>
          <p:cNvPr id="29" name="Obraz 28">
            <a:extLst>
              <a:ext uri="{FF2B5EF4-FFF2-40B4-BE49-F238E27FC236}">
                <a16:creationId xmlns:a16="http://schemas.microsoft.com/office/drawing/2014/main" id="{9E6D2463-54C1-4B78-9080-1DF3F07AADA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6325" y="52990"/>
            <a:ext cx="521892" cy="615547"/>
          </a:xfrm>
          <a:prstGeom prst="rect">
            <a:avLst/>
          </a:prstGeom>
        </p:spPr>
      </p:pic>
      <p:graphicFrame>
        <p:nvGraphicFramePr>
          <p:cNvPr id="18" name="Wykres 17">
            <a:extLst>
              <a:ext uri="{FF2B5EF4-FFF2-40B4-BE49-F238E27FC236}">
                <a16:creationId xmlns:a16="http://schemas.microsoft.com/office/drawing/2014/main" id="{F78CDDEA-F5BF-49BB-B5F1-1B77C904A18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05162946"/>
              </p:ext>
            </p:extLst>
          </p:nvPr>
        </p:nvGraphicFramePr>
        <p:xfrm>
          <a:off x="859126" y="2701505"/>
          <a:ext cx="2979403" cy="23185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24" name="Obraz 23">
            <a:extLst>
              <a:ext uri="{FF2B5EF4-FFF2-40B4-BE49-F238E27FC236}">
                <a16:creationId xmlns:a16="http://schemas.microsoft.com/office/drawing/2014/main" id="{11F69B2C-D6F7-4859-B79B-C94206467DD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2823" y="2995833"/>
            <a:ext cx="3423319" cy="1826104"/>
          </a:xfrm>
          <a:prstGeom prst="rect">
            <a:avLst/>
          </a:prstGeom>
          <a:ln>
            <a:noFill/>
          </a:ln>
          <a:effectLst>
            <a:softEdge rad="114300"/>
          </a:effectLst>
        </p:spPr>
      </p:pic>
      <p:sp>
        <p:nvSpPr>
          <p:cNvPr id="25" name="pole tekstowe 24">
            <a:extLst>
              <a:ext uri="{FF2B5EF4-FFF2-40B4-BE49-F238E27FC236}">
                <a16:creationId xmlns:a16="http://schemas.microsoft.com/office/drawing/2014/main" id="{93F32E05-CC8A-4371-9E5F-59201D175C6D}"/>
              </a:ext>
            </a:extLst>
          </p:cNvPr>
          <p:cNvSpPr txBox="1"/>
          <p:nvPr/>
        </p:nvSpPr>
        <p:spPr>
          <a:xfrm>
            <a:off x="827584" y="1345513"/>
            <a:ext cx="4680520" cy="1351972"/>
          </a:xfrm>
          <a:prstGeom prst="rect">
            <a:avLst/>
          </a:prstGeom>
          <a:solidFill>
            <a:schemeClr val="bg1">
              <a:alpha val="54000"/>
            </a:schemeClr>
          </a:solidFill>
          <a:ln>
            <a:noFill/>
          </a:ln>
        </p:spPr>
        <p:txBody>
          <a:bodyPr wrap="square" rtlCol="0" anchor="ctr" anchorCtr="0">
            <a:noAutofit/>
          </a:bodyPr>
          <a:lstStyle/>
          <a:p>
            <a:pPr marL="285750" indent="-285750">
              <a:lnSpc>
                <a:spcPct val="80000"/>
              </a:lnSpc>
              <a:spcBef>
                <a:spcPts val="6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en-GB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Arial" charset="0"/>
              </a:rPr>
              <a:t>8</a:t>
            </a:r>
            <a:r>
              <a:rPr lang="en-GB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Arial" charset="0"/>
              </a:rPr>
              <a:t>production floors </a:t>
            </a: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Arial" charset="0"/>
              </a:rPr>
              <a:t>- </a:t>
            </a:r>
            <a:r>
              <a:rPr lang="en-GB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Arial" charset="0"/>
              </a:rPr>
              <a:t>2.15 ha </a:t>
            </a: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Arial" charset="0"/>
              </a:rPr>
              <a:t>of surface area</a:t>
            </a:r>
            <a:endParaRPr lang="en-GB" sz="2000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Arial" charset="0"/>
            </a:endParaRPr>
          </a:p>
          <a:p>
            <a:pPr marL="285750" indent="-285750" algn="l" rtl="0">
              <a:lnSpc>
                <a:spcPct val="80000"/>
              </a:lnSpc>
              <a:spcBef>
                <a:spcPts val="6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en-GB" sz="2400" b="1" i="0" u="none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Arial" charset="0"/>
              </a:rPr>
              <a:t>18</a:t>
            </a:r>
            <a:r>
              <a:rPr lang="en-GB" sz="1600" b="0" i="0" u="none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pl-PL" sz="1600" b="0" i="0" u="none" baseline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Arial" charset="0"/>
              </a:rPr>
              <a:t>cranes</a:t>
            </a:r>
            <a:r>
              <a:rPr lang="en-GB" sz="1600" b="0" i="0" u="none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Arial" charset="0"/>
              </a:rPr>
              <a:t> 5-20 t</a:t>
            </a:r>
          </a:p>
          <a:p>
            <a:pPr marL="285750" indent="-285750" algn="l" rtl="0">
              <a:lnSpc>
                <a:spcPct val="80000"/>
              </a:lnSpc>
              <a:spcBef>
                <a:spcPts val="6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en-GB" sz="2400" b="1" i="0" u="none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Arial" charset="0"/>
              </a:rPr>
              <a:t>60</a:t>
            </a:r>
            <a:r>
              <a:rPr lang="en-GB" sz="1600" b="0" i="0" u="none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pl-PL" sz="1600" b="0" i="0" u="none" baseline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Arial" charset="0"/>
              </a:rPr>
              <a:t>welding</a:t>
            </a:r>
            <a:r>
              <a:rPr lang="pl-PL" sz="1600" b="0" i="0" u="none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pl-PL" sz="1600" b="0" i="0" u="none" baseline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Arial" charset="0"/>
              </a:rPr>
              <a:t>posts</a:t>
            </a:r>
            <a:endParaRPr lang="en-GB" sz="1600" b="0" i="0" u="none" baseline="0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Arial" charset="0"/>
            </a:endParaRPr>
          </a:p>
          <a:p>
            <a:pPr marL="285750" indent="-285750">
              <a:lnSpc>
                <a:spcPct val="80000"/>
              </a:lnSpc>
              <a:spcBef>
                <a:spcPts val="6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en-GB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cs typeface="Arial" charset="0"/>
              </a:rPr>
              <a:t>153</a:t>
            </a:r>
            <a:r>
              <a:rPr lang="en-GB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cs typeface="Arial" charset="0"/>
              </a:rPr>
              <a:t> </a:t>
            </a:r>
            <a:r>
              <a:rPr lang="en-US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cs typeface="Arial" charset="0"/>
              </a:rPr>
              <a:t>welders</a:t>
            </a:r>
            <a:endParaRPr lang="en-GB" sz="1600" dirty="0">
              <a:solidFill>
                <a:prstClr val="black">
                  <a:lumMod val="75000"/>
                  <a:lumOff val="25000"/>
                </a:prstClr>
              </a:solidFill>
              <a:latin typeface="Calibri" panose="020F0502020204030204" pitchFamily="34" charset="0"/>
              <a:cs typeface="Arial" charset="0"/>
            </a:endParaRPr>
          </a:p>
        </p:txBody>
      </p:sp>
      <p:pic>
        <p:nvPicPr>
          <p:cNvPr id="27" name="Obraz 26">
            <a:extLst>
              <a:ext uri="{FF2B5EF4-FFF2-40B4-BE49-F238E27FC236}">
                <a16:creationId xmlns:a16="http://schemas.microsoft.com/office/drawing/2014/main" id="{9B7022AE-2093-423A-A32C-B605AF1D90D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8974" y="1627049"/>
            <a:ext cx="2462946" cy="177582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8" name="pole tekstowe 27">
            <a:extLst>
              <a:ext uri="{FF2B5EF4-FFF2-40B4-BE49-F238E27FC236}">
                <a16:creationId xmlns:a16="http://schemas.microsoft.com/office/drawing/2014/main" id="{48BCA789-AC32-4867-9FAB-257E6F841422}"/>
              </a:ext>
            </a:extLst>
          </p:cNvPr>
          <p:cNvSpPr txBox="1"/>
          <p:nvPr/>
        </p:nvSpPr>
        <p:spPr>
          <a:xfrm>
            <a:off x="804755" y="958913"/>
            <a:ext cx="2458288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perational</a:t>
            </a:r>
            <a:r>
              <a:rPr lang="pl-PL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AU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oten</a:t>
            </a:r>
            <a:r>
              <a:rPr lang="pl-PL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</a:t>
            </a:r>
            <a:r>
              <a:rPr lang="en-AU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al</a:t>
            </a:r>
            <a:r>
              <a:rPr lang="pl-PL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:</a:t>
            </a:r>
          </a:p>
        </p:txBody>
      </p:sp>
      <p:sp>
        <p:nvSpPr>
          <p:cNvPr id="13" name="pole tekstowe 12">
            <a:extLst>
              <a:ext uri="{FF2B5EF4-FFF2-40B4-BE49-F238E27FC236}">
                <a16:creationId xmlns:a16="http://schemas.microsoft.com/office/drawing/2014/main" id="{16CFDA55-C9CE-430F-ACC4-51A8CED57101}"/>
              </a:ext>
            </a:extLst>
          </p:cNvPr>
          <p:cNvSpPr txBox="1"/>
          <p:nvPr/>
        </p:nvSpPr>
        <p:spPr>
          <a:xfrm>
            <a:off x="8777845" y="4866501"/>
            <a:ext cx="3661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>
                <a:latin typeface="Calibri" panose="020F0502020204030204" pitchFamily="34" charset="0"/>
                <a:cs typeface="Calibri" panose="020F0502020204030204" pitchFamily="34" charset="0"/>
              </a:rPr>
              <a:t>11</a:t>
            </a:r>
          </a:p>
        </p:txBody>
      </p:sp>
      <p:sp>
        <p:nvSpPr>
          <p:cNvPr id="2" name="Strzałka: w górę 1">
            <a:extLst>
              <a:ext uri="{FF2B5EF4-FFF2-40B4-BE49-F238E27FC236}">
                <a16:creationId xmlns:a16="http://schemas.microsoft.com/office/drawing/2014/main" id="{A8CF72DB-A5B1-4465-B5A4-F0D8946092E7}"/>
              </a:ext>
            </a:extLst>
          </p:cNvPr>
          <p:cNvSpPr/>
          <p:nvPr/>
        </p:nvSpPr>
        <p:spPr>
          <a:xfrm rot="3157685">
            <a:off x="2192240" y="2781586"/>
            <a:ext cx="233883" cy="1817717"/>
          </a:xfrm>
          <a:prstGeom prst="upArrow">
            <a:avLst/>
          </a:prstGeom>
          <a:noFill/>
          <a:ln>
            <a:solidFill>
              <a:srgbClr val="B40E0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600" dirty="0">
              <a:solidFill>
                <a:srgbClr val="540E0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" name="pole tekstowe 2">
            <a:extLst>
              <a:ext uri="{FF2B5EF4-FFF2-40B4-BE49-F238E27FC236}">
                <a16:creationId xmlns:a16="http://schemas.microsoft.com/office/drawing/2014/main" id="{F77EA136-3867-4FD0-873D-41535D6F5B03}"/>
              </a:ext>
            </a:extLst>
          </p:cNvPr>
          <p:cNvSpPr txBox="1"/>
          <p:nvPr/>
        </p:nvSpPr>
        <p:spPr>
          <a:xfrm>
            <a:off x="1122715" y="3372739"/>
            <a:ext cx="9361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>
                <a:latin typeface="Calibri" panose="020F0502020204030204" pitchFamily="34" charset="0"/>
                <a:cs typeface="Calibri" panose="020F0502020204030204" pitchFamily="34" charset="0"/>
              </a:rPr>
              <a:t>[mln EUR]</a:t>
            </a:r>
          </a:p>
        </p:txBody>
      </p:sp>
    </p:spTree>
    <p:extLst>
      <p:ext uri="{BB962C8B-B14F-4D97-AF65-F5344CB8AC3E}">
        <p14:creationId xmlns:p14="http://schemas.microsoft.com/office/powerpoint/2010/main" val="3968614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42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500"/>
                            </p:stCondLst>
                            <p:childTnLst>
                              <p:par>
                                <p:cTn id="2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2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25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5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500"/>
                            </p:stCondLst>
                            <p:childTnLst>
                              <p:par>
                                <p:cTn id="3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6500"/>
                            </p:stCondLst>
                            <p:childTnLst>
                              <p:par>
                                <p:cTn id="4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2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2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2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7500"/>
                            </p:stCondLst>
                            <p:childTnLst>
                              <p:par>
                                <p:cTn id="4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2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2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2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8500"/>
                            </p:stCondLst>
                            <p:childTnLst>
                              <p:par>
                                <p:cTn id="5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2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2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2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9500"/>
                            </p:stCondLst>
                            <p:childTnLst>
                              <p:par>
                                <p:cTn id="59" presetID="21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61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1200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1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12010"/>
                            </p:stCondLst>
                            <p:childTnLst>
                              <p:par>
                                <p:cTn id="67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8" grpId="0">
        <p:bldAsOne/>
      </p:bldGraphic>
      <p:bldP spid="25" grpId="0" build="p" animBg="1"/>
      <p:bldP spid="28" grpId="0" build="p"/>
      <p:bldP spid="2" grpId="0" animBg="1"/>
      <p:bldP spid="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Obraz 19" descr="DSC_0018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6120" y="2887690"/>
            <a:ext cx="2750993" cy="1829118"/>
          </a:xfrm>
          <a:prstGeom prst="rect">
            <a:avLst/>
          </a:prstGeom>
          <a:effectLst>
            <a:softEdge rad="114300"/>
          </a:effectLst>
        </p:spPr>
      </p:pic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6767" y="820743"/>
            <a:ext cx="2592288" cy="1418154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  <a:softEdge rad="1143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Prostokąt 20"/>
          <p:cNvSpPr/>
          <p:nvPr/>
        </p:nvSpPr>
        <p:spPr>
          <a:xfrm>
            <a:off x="1340875" y="1149591"/>
            <a:ext cx="295664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0"/>
            <a:r>
              <a:rPr lang="en-GB" b="1" i="0" u="none" baseline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Developed competencies</a:t>
            </a:r>
            <a:endParaRPr lang="en-GB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2269349456"/>
              </p:ext>
            </p:extLst>
          </p:nvPr>
        </p:nvGraphicFramePr>
        <p:xfrm>
          <a:off x="827584" y="1066428"/>
          <a:ext cx="4896708" cy="16744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3505660115"/>
              </p:ext>
            </p:extLst>
          </p:nvPr>
        </p:nvGraphicFramePr>
        <p:xfrm>
          <a:off x="827585" y="3528360"/>
          <a:ext cx="3600400" cy="10911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pic>
        <p:nvPicPr>
          <p:cNvPr id="24" name="Picture 5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4498" y="1685114"/>
            <a:ext cx="2029870" cy="1874748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  <a:softEdge rad="1143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Prostokąt 22"/>
          <p:cNvSpPr/>
          <p:nvPr/>
        </p:nvSpPr>
        <p:spPr>
          <a:xfrm>
            <a:off x="634667" y="3108228"/>
            <a:ext cx="489670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l-PL" b="1" i="0" u="none" baseline="0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Diversification</a:t>
            </a:r>
            <a:r>
              <a:rPr lang="pl-PL" b="1" i="0" u="none" baseline="0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pl-PL" b="1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outside</a:t>
            </a:r>
            <a:r>
              <a:rPr lang="pl-PL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the </a:t>
            </a:r>
            <a:r>
              <a:rPr lang="pl-PL" b="1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mining</a:t>
            </a:r>
            <a:r>
              <a:rPr lang="pl-PL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pl-PL" b="1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</a:rPr>
              <a:t>sector</a:t>
            </a:r>
            <a:endParaRPr lang="en-GB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</a:endParaRPr>
          </a:p>
        </p:txBody>
      </p:sp>
      <p:cxnSp>
        <p:nvCxnSpPr>
          <p:cNvPr id="25" name="Łącznik prosty 24"/>
          <p:cNvCxnSpPr/>
          <p:nvPr/>
        </p:nvCxnSpPr>
        <p:spPr>
          <a:xfrm>
            <a:off x="859126" y="1"/>
            <a:ext cx="0" cy="52279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ole tekstowe 25"/>
          <p:cNvSpPr txBox="1"/>
          <p:nvPr/>
        </p:nvSpPr>
        <p:spPr>
          <a:xfrm>
            <a:off x="827584" y="274562"/>
            <a:ext cx="7301590" cy="397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2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Welding</a:t>
            </a:r>
            <a:r>
              <a:rPr lang="pl-PL" sz="2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plant d</a:t>
            </a:r>
            <a:r>
              <a:rPr lang="en-GB" sz="2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versification</a:t>
            </a:r>
            <a:endParaRPr lang="en-GB" sz="2200" b="1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28" name="Obraz 27">
            <a:extLst>
              <a:ext uri="{FF2B5EF4-FFF2-40B4-BE49-F238E27FC236}">
                <a16:creationId xmlns:a16="http://schemas.microsoft.com/office/drawing/2014/main" id="{D2A5C87D-F302-4A0C-8D97-632976B235FC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6325" y="52990"/>
            <a:ext cx="521892" cy="615547"/>
          </a:xfrm>
          <a:prstGeom prst="rect">
            <a:avLst/>
          </a:prstGeom>
        </p:spPr>
      </p:pic>
      <p:grpSp>
        <p:nvGrpSpPr>
          <p:cNvPr id="29" name="Grupa 28">
            <a:extLst>
              <a:ext uri="{FF2B5EF4-FFF2-40B4-BE49-F238E27FC236}">
                <a16:creationId xmlns:a16="http://schemas.microsoft.com/office/drawing/2014/main" id="{D9F23E54-0539-4849-A121-C3284DA68ADF}"/>
              </a:ext>
            </a:extLst>
          </p:cNvPr>
          <p:cNvGrpSpPr/>
          <p:nvPr/>
        </p:nvGrpSpPr>
        <p:grpSpPr>
          <a:xfrm>
            <a:off x="4466551" y="3528359"/>
            <a:ext cx="1257741" cy="1091141"/>
            <a:chOff x="337" y="0"/>
            <a:chExt cx="1042887" cy="1091141"/>
          </a:xfrm>
        </p:grpSpPr>
        <p:sp>
          <p:nvSpPr>
            <p:cNvPr id="30" name="Prostokąt: zaokrąglone rogi 29">
              <a:extLst>
                <a:ext uri="{FF2B5EF4-FFF2-40B4-BE49-F238E27FC236}">
                  <a16:creationId xmlns:a16="http://schemas.microsoft.com/office/drawing/2014/main" id="{78CBA06B-D261-497C-9731-9E9C3E4532DA}"/>
                </a:ext>
              </a:extLst>
            </p:cNvPr>
            <p:cNvSpPr/>
            <p:nvPr/>
          </p:nvSpPr>
          <p:spPr>
            <a:xfrm>
              <a:off x="337" y="0"/>
              <a:ext cx="1042887" cy="1091141"/>
            </a:xfrm>
            <a:prstGeom prst="roundRect">
              <a:avLst/>
            </a:prstGeom>
            <a:solidFill>
              <a:srgbClr val="C0000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1" name="Prostokąt: zaokrąglone rogi 4">
              <a:extLst>
                <a:ext uri="{FF2B5EF4-FFF2-40B4-BE49-F238E27FC236}">
                  <a16:creationId xmlns:a16="http://schemas.microsoft.com/office/drawing/2014/main" id="{06A0D7BE-8ECD-4082-84C6-E990A7405328}"/>
                </a:ext>
              </a:extLst>
            </p:cNvPr>
            <p:cNvSpPr txBox="1"/>
            <p:nvPr/>
          </p:nvSpPr>
          <p:spPr>
            <a:xfrm>
              <a:off x="51247" y="50910"/>
              <a:ext cx="941067" cy="98932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30480" rIns="60960" bIns="30480" numCol="1" spcCol="1270" anchor="ctr" anchorCtr="0">
              <a:noAutofit/>
            </a:bodyPr>
            <a:lstStyle/>
            <a:p>
              <a:pPr marL="0" lvl="0" indent="0" algn="ctr" defTabSz="7112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pl-PL" sz="1600" b="1" i="0" u="none" kern="1200" baseline="0" dirty="0">
                  <a:latin typeface="Calibri" panose="020F0502020204030204" pitchFamily="34" charset="0"/>
                </a:rPr>
                <a:t>1,000 </a:t>
              </a:r>
              <a:br>
                <a:rPr lang="pl-PL" sz="1600" b="1" i="0" u="none" kern="1200" baseline="0" dirty="0">
                  <a:latin typeface="Calibri" panose="020F0502020204030204" pitchFamily="34" charset="0"/>
                </a:rPr>
              </a:br>
              <a:r>
                <a:rPr lang="pl-PL" sz="1600" b="1" i="0" u="none" kern="1200" baseline="0" dirty="0" err="1">
                  <a:latin typeface="Calibri" panose="020F0502020204030204" pitchFamily="34" charset="0"/>
                </a:rPr>
                <a:t>new</a:t>
              </a:r>
              <a:r>
                <a:rPr lang="pl-PL" sz="1600" b="1" i="0" u="none" kern="1200" baseline="0" dirty="0">
                  <a:latin typeface="Calibri" panose="020F0502020204030204" pitchFamily="34" charset="0"/>
                </a:rPr>
                <a:t> </a:t>
              </a:r>
              <a:r>
                <a:rPr lang="pl-PL" sz="1600" b="1" i="0" u="none" kern="1200" baseline="0" dirty="0" err="1">
                  <a:latin typeface="Calibri" panose="020F0502020204030204" pitchFamily="34" charset="0"/>
                </a:rPr>
                <a:t>jobs</a:t>
              </a:r>
              <a:endParaRPr lang="en-GB" sz="1600" b="1" i="0" u="none" kern="1200" baseline="0" dirty="0">
                <a:latin typeface="Calibri" panose="020F0502020204030204" pitchFamily="34" charset="0"/>
              </a:endParaRPr>
            </a:p>
          </p:txBody>
        </p:sp>
      </p:grpSp>
      <p:sp>
        <p:nvSpPr>
          <p:cNvPr id="18" name="pole tekstowe 17">
            <a:extLst>
              <a:ext uri="{FF2B5EF4-FFF2-40B4-BE49-F238E27FC236}">
                <a16:creationId xmlns:a16="http://schemas.microsoft.com/office/drawing/2014/main" id="{061B463F-4AC1-47C3-9567-07F18F7A0AB9}"/>
              </a:ext>
            </a:extLst>
          </p:cNvPr>
          <p:cNvSpPr txBox="1"/>
          <p:nvPr/>
        </p:nvSpPr>
        <p:spPr>
          <a:xfrm>
            <a:off x="8777845" y="4866501"/>
            <a:ext cx="3661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>
                <a:latin typeface="Calibri" panose="020F0502020204030204" pitchFamily="34" charset="0"/>
                <a:cs typeface="Calibri" panose="020F0502020204030204" pitchFamily="34" charset="0"/>
              </a:rPr>
              <a:t>12</a:t>
            </a:r>
          </a:p>
        </p:txBody>
      </p:sp>
    </p:spTree>
    <p:extLst>
      <p:ext uri="{BB962C8B-B14F-4D97-AF65-F5344CB8AC3E}">
        <p14:creationId xmlns:p14="http://schemas.microsoft.com/office/powerpoint/2010/main" val="2475216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42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5998EFE4-9592-42E8-9424-46F80CC0401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">
                                            <p:graphicEl>
                                              <a:dgm id="{5998EFE4-9592-42E8-9424-46F80CC04019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2">
                                            <p:graphicEl>
                                              <a:dgm id="{5998EFE4-9592-42E8-9424-46F80CC04019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">
                                            <p:graphicEl>
                                              <a:dgm id="{5998EFE4-9592-42E8-9424-46F80CC04019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500"/>
                            </p:stCondLst>
                            <p:childTnLst>
                              <p:par>
                                <p:cTn id="15" presetID="42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70EBCE68-7E87-47B2-876B-04912D7EF70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">
                                            <p:graphicEl>
                                              <a:dgm id="{70EBCE68-7E87-47B2-876B-04912D7EF708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">
                                            <p:graphicEl>
                                              <a:dgm id="{70EBCE68-7E87-47B2-876B-04912D7EF708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">
                                            <p:graphicEl>
                                              <a:dgm id="{70EBCE68-7E87-47B2-876B-04912D7EF708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42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B647C933-9132-46E3-8806-62144F2E9FD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">
                                            <p:graphicEl>
                                              <a:dgm id="{B647C933-9132-46E3-8806-62144F2E9FD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">
                                            <p:graphicEl>
                                              <a:dgm id="{B647C933-9132-46E3-8806-62144F2E9FD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">
                                            <p:graphicEl>
                                              <a:dgm id="{B647C933-9132-46E3-8806-62144F2E9FD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500"/>
                            </p:stCondLst>
                            <p:childTnLst>
                              <p:par>
                                <p:cTn id="27" presetID="42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E2A1E0EC-86D7-48AA-BA80-83FFDEC1A36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2">
                                            <p:graphicEl>
                                              <a:dgm id="{E2A1E0EC-86D7-48AA-BA80-83FFDEC1A36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2">
                                            <p:graphicEl>
                                              <a:dgm id="{E2A1E0EC-86D7-48AA-BA80-83FFDEC1A363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2">
                                            <p:graphicEl>
                                              <a:dgm id="{E2A1E0EC-86D7-48AA-BA80-83FFDEC1A363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7000"/>
                            </p:stCondLst>
                            <p:childTnLst>
                              <p:par>
                                <p:cTn id="33" presetID="42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796418EA-7602-40FD-87F1-E0018F33D2C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2">
                                            <p:graphicEl>
                                              <a:dgm id="{796418EA-7602-40FD-87F1-E0018F33D2C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2">
                                            <p:graphicEl>
                                              <a:dgm id="{796418EA-7602-40FD-87F1-E0018F33D2CA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">
                                            <p:graphicEl>
                                              <a:dgm id="{796418EA-7602-40FD-87F1-E0018F33D2CA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8500"/>
                            </p:stCondLst>
                            <p:childTnLst>
                              <p:par>
                                <p:cTn id="39" presetID="53" presetClass="entr" presetSubtype="16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0000"/>
                            </p:stCondLst>
                            <p:childTnLst>
                              <p:par>
                                <p:cTn id="45" presetID="53" presetClass="entr" presetSubtype="16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11500"/>
                            </p:stCondLst>
                            <p:childTnLst>
                              <p:par>
                                <p:cTn id="51" presetID="53" presetClass="entr" presetSubtype="16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3000"/>
                            </p:stCondLst>
                            <p:childTnLst>
                              <p:par>
                                <p:cTn id="57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14500"/>
                            </p:stCondLst>
                            <p:childTnLst>
                              <p:par>
                                <p:cTn id="61" presetID="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16000"/>
                            </p:stCondLst>
                            <p:childTnLst>
                              <p:par>
                                <p:cTn id="66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Graphic spid="2" grpId="0">
        <p:bldSub>
          <a:bldDgm bld="one"/>
        </p:bldSub>
      </p:bldGraphic>
      <p:bldGraphic spid="6" grpId="0">
        <p:bldAsOne/>
      </p:bldGraphic>
      <p:bldP spid="23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Łącznik prosty 4"/>
          <p:cNvCxnSpPr/>
          <p:nvPr/>
        </p:nvCxnSpPr>
        <p:spPr>
          <a:xfrm>
            <a:off x="859126" y="1"/>
            <a:ext cx="0" cy="52279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ole tekstowe 9"/>
          <p:cNvSpPr txBox="1"/>
          <p:nvPr/>
        </p:nvSpPr>
        <p:spPr>
          <a:xfrm>
            <a:off x="827584" y="237650"/>
            <a:ext cx="730159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Gasification Project - assumptions</a:t>
            </a:r>
          </a:p>
        </p:txBody>
      </p:sp>
      <p:sp>
        <p:nvSpPr>
          <p:cNvPr id="15" name="Symbol zastępczy numeru slajdu 2"/>
          <p:cNvSpPr txBox="1">
            <a:spLocks/>
          </p:cNvSpPr>
          <p:nvPr/>
        </p:nvSpPr>
        <p:spPr>
          <a:xfrm>
            <a:off x="6457951" y="6392834"/>
            <a:ext cx="1851848" cy="328646"/>
          </a:xfrm>
          <a:prstGeom prst="rect">
            <a:avLst/>
          </a:prstGeom>
        </p:spPr>
        <p:txBody>
          <a:bodyPr/>
          <a:lstStyle>
            <a:defPPr>
              <a:defRPr lang="pl-P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1903DCD-27CB-4E68-94D6-0EB6FA1FC2E1}" type="slidenum">
              <a:rPr lang="pl-PL" smtClean="0">
                <a:solidFill>
                  <a:schemeClr val="bg1"/>
                </a:solidFill>
              </a:rPr>
              <a:pPr/>
              <a:t>13</a:t>
            </a:fld>
            <a:endParaRPr lang="pl-PL" dirty="0">
              <a:solidFill>
                <a:schemeClr val="bg1"/>
              </a:solidFill>
            </a:endParaRPr>
          </a:p>
        </p:txBody>
      </p:sp>
      <p:pic>
        <p:nvPicPr>
          <p:cNvPr id="29" name="Obraz 28">
            <a:extLst>
              <a:ext uri="{FF2B5EF4-FFF2-40B4-BE49-F238E27FC236}">
                <a16:creationId xmlns:a16="http://schemas.microsoft.com/office/drawing/2014/main" id="{9E6D2463-54C1-4B78-9080-1DF3F07AADA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6325" y="52990"/>
            <a:ext cx="521892" cy="615547"/>
          </a:xfrm>
          <a:prstGeom prst="rect">
            <a:avLst/>
          </a:prstGeom>
        </p:spPr>
      </p:pic>
      <p:sp>
        <p:nvSpPr>
          <p:cNvPr id="14" name="Prostokąt 13">
            <a:extLst>
              <a:ext uri="{FF2B5EF4-FFF2-40B4-BE49-F238E27FC236}">
                <a16:creationId xmlns:a16="http://schemas.microsoft.com/office/drawing/2014/main" id="{C31B021C-B2D7-4590-9137-9930A1DF26F7}"/>
              </a:ext>
            </a:extLst>
          </p:cNvPr>
          <p:cNvSpPr/>
          <p:nvPr/>
        </p:nvSpPr>
        <p:spPr>
          <a:xfrm>
            <a:off x="4799744" y="1465648"/>
            <a:ext cx="4164744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2000" b="1" u="sng" dirty="0" err="1">
                <a:solidFill>
                  <a:srgbClr val="FF0000"/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Key</a:t>
            </a:r>
            <a:r>
              <a:rPr lang="pl-PL" sz="2000" b="1" u="sng" dirty="0">
                <a:solidFill>
                  <a:srgbClr val="FF0000"/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pl-PL" sz="2000" b="1" u="sng" dirty="0" err="1">
                <a:solidFill>
                  <a:srgbClr val="FF0000"/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figures</a:t>
            </a:r>
            <a:r>
              <a:rPr lang="pl-PL" sz="2000" b="1" u="sng" dirty="0">
                <a:solidFill>
                  <a:srgbClr val="FF0000"/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: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pl-PL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EUR 500 mln </a:t>
            </a:r>
            <a:r>
              <a:rPr lang="pl-PL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APEX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pl-PL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0.6 mln </a:t>
            </a:r>
            <a:r>
              <a:rPr lang="pl-PL" sz="20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ons</a:t>
            </a:r>
            <a:r>
              <a:rPr lang="pl-PL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pl-PL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f </a:t>
            </a:r>
            <a:r>
              <a:rPr lang="pl-PL" sz="20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ethanol</a:t>
            </a:r>
            <a:r>
              <a:rPr lang="pl-PL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pl-PL" sz="20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roduction</a:t>
            </a:r>
            <a:endParaRPr lang="pl-PL" sz="200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pl-PL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.2 mln </a:t>
            </a:r>
            <a:r>
              <a:rPr lang="pl-PL" sz="20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ons</a:t>
            </a:r>
            <a:r>
              <a:rPr lang="pl-PL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pl-PL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f </a:t>
            </a:r>
            <a:r>
              <a:rPr lang="pl-PL" sz="20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oal</a:t>
            </a:r>
            <a:r>
              <a:rPr lang="pl-PL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for </a:t>
            </a:r>
            <a:r>
              <a:rPr lang="pl-PL" sz="20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gasification</a:t>
            </a:r>
            <a:endParaRPr lang="pl-PL" sz="200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pl-PL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50,000 </a:t>
            </a:r>
            <a:r>
              <a:rPr lang="pl-PL" sz="20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ons</a:t>
            </a:r>
            <a:r>
              <a:rPr lang="pl-PL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pl-PL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f CO</a:t>
            </a:r>
            <a:r>
              <a:rPr lang="pl-PL" sz="2000" baseline="-25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</a:t>
            </a:r>
            <a:r>
              <a:rPr lang="pl-PL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pl-PL" sz="20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emissions</a:t>
            </a:r>
            <a:r>
              <a:rPr lang="pl-PL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to </a:t>
            </a:r>
            <a:r>
              <a:rPr lang="pl-PL" sz="20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avoid</a:t>
            </a:r>
            <a:endParaRPr lang="pl-PL" sz="200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" name="pole tekstowe 8">
            <a:extLst>
              <a:ext uri="{FF2B5EF4-FFF2-40B4-BE49-F238E27FC236}">
                <a16:creationId xmlns:a16="http://schemas.microsoft.com/office/drawing/2014/main" id="{6C3C0DDC-07FE-4288-84F5-9E2AB68503C7}"/>
              </a:ext>
            </a:extLst>
          </p:cNvPr>
          <p:cNvSpPr txBox="1"/>
          <p:nvPr/>
        </p:nvSpPr>
        <p:spPr>
          <a:xfrm>
            <a:off x="8777845" y="4866501"/>
            <a:ext cx="3661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>
                <a:latin typeface="Calibri" panose="020F0502020204030204" pitchFamily="34" charset="0"/>
                <a:cs typeface="Calibri" panose="020F0502020204030204" pitchFamily="34" charset="0"/>
              </a:rPr>
              <a:t>13</a:t>
            </a:r>
          </a:p>
        </p:txBody>
      </p:sp>
      <p:pic>
        <p:nvPicPr>
          <p:cNvPr id="11" name="Obraz 10">
            <a:extLst>
              <a:ext uri="{FF2B5EF4-FFF2-40B4-BE49-F238E27FC236}">
                <a16:creationId xmlns:a16="http://schemas.microsoft.com/office/drawing/2014/main" id="{C6502299-4E1C-4D20-A8C1-40E3107F942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633" y="1540615"/>
            <a:ext cx="4001399" cy="2316300"/>
          </a:xfrm>
          <a:prstGeom prst="rect">
            <a:avLst/>
          </a:prstGeom>
          <a:effectLst>
            <a:softEdge rad="127000"/>
          </a:effectLst>
        </p:spPr>
      </p:pic>
      <p:sp>
        <p:nvSpPr>
          <p:cNvPr id="3" name="Prostokąt 2">
            <a:extLst>
              <a:ext uri="{FF2B5EF4-FFF2-40B4-BE49-F238E27FC236}">
                <a16:creationId xmlns:a16="http://schemas.microsoft.com/office/drawing/2014/main" id="{ED8E8A3F-1A83-4639-8809-48098BDDFE03}"/>
              </a:ext>
            </a:extLst>
          </p:cNvPr>
          <p:cNvSpPr/>
          <p:nvPr/>
        </p:nvSpPr>
        <p:spPr>
          <a:xfrm>
            <a:off x="858633" y="3743194"/>
            <a:ext cx="2520280" cy="276999"/>
          </a:xfrm>
          <a:prstGeom prst="rect">
            <a:avLst/>
          </a:prstGeom>
          <a:effectLst>
            <a:softEdge rad="127000"/>
          </a:effectLst>
        </p:spPr>
        <p:txBody>
          <a:bodyPr wrap="square">
            <a:spAutoFit/>
          </a:bodyPr>
          <a:lstStyle/>
          <a:p>
            <a:r>
              <a:rPr lang="pl-PL" sz="1200" dirty="0" err="1">
                <a:latin typeface="Arial" panose="020B0604020202020204" pitchFamily="34" charset="0"/>
              </a:rPr>
              <a:t>Yima</a:t>
            </a:r>
            <a:r>
              <a:rPr lang="pl-PL" sz="1200" dirty="0">
                <a:latin typeface="Arial" panose="020B0604020202020204" pitchFamily="34" charset="0"/>
              </a:rPr>
              <a:t>, China </a:t>
            </a:r>
            <a:endParaRPr lang="pl-PL" sz="1200" dirty="0"/>
          </a:p>
        </p:txBody>
      </p:sp>
    </p:spTree>
    <p:extLst>
      <p:ext uri="{BB962C8B-B14F-4D97-AF65-F5344CB8AC3E}">
        <p14:creationId xmlns:p14="http://schemas.microsoft.com/office/powerpoint/2010/main" val="218178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32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42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3500"/>
                            </p:stCondLst>
                            <p:childTnLst>
                              <p:par>
                                <p:cTn id="19" presetID="42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0"/>
                            </p:stCondLst>
                            <p:childTnLst>
                              <p:par>
                                <p:cTn id="25" presetID="42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6500"/>
                            </p:stCondLst>
                            <p:childTnLst>
                              <p:par>
                                <p:cTn id="31" presetID="42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8000"/>
                            </p:stCondLst>
                            <p:childTnLst>
                              <p:par>
                                <p:cTn id="37" presetID="42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build="p"/>
      <p:bldP spid="3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" name="Obraz 67">
            <a:extLst>
              <a:ext uri="{FF2B5EF4-FFF2-40B4-BE49-F238E27FC236}">
                <a16:creationId xmlns:a16="http://schemas.microsoft.com/office/drawing/2014/main" id="{0DA3F6F8-DD62-4539-BC9B-072A9F7E80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11567" y="942925"/>
            <a:ext cx="2664055" cy="3456551"/>
          </a:xfrm>
          <a:prstGeom prst="rect">
            <a:avLst/>
          </a:prstGeom>
        </p:spPr>
      </p:pic>
      <p:cxnSp>
        <p:nvCxnSpPr>
          <p:cNvPr id="5" name="Łącznik prosty 4"/>
          <p:cNvCxnSpPr/>
          <p:nvPr/>
        </p:nvCxnSpPr>
        <p:spPr>
          <a:xfrm>
            <a:off x="859126" y="1"/>
            <a:ext cx="0" cy="52279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ole tekstowe 9"/>
          <p:cNvSpPr txBox="1"/>
          <p:nvPr/>
        </p:nvSpPr>
        <p:spPr>
          <a:xfrm>
            <a:off x="834845" y="237650"/>
            <a:ext cx="745002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Gasification</a:t>
            </a:r>
            <a:r>
              <a:rPr lang="pl-PL" sz="2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Project – </a:t>
            </a:r>
            <a:r>
              <a:rPr lang="pl-PL" sz="2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onverting</a:t>
            </a:r>
            <a:r>
              <a:rPr lang="pl-PL" sz="2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pl-PL" sz="2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energy</a:t>
            </a:r>
            <a:r>
              <a:rPr lang="pl-PL" sz="2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pl-PL" sz="2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ources</a:t>
            </a:r>
            <a:r>
              <a:rPr lang="pl-PL" sz="2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pl-PL" sz="2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nto</a:t>
            </a:r>
            <a:r>
              <a:rPr lang="pl-PL" sz="2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pl-PL" sz="2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fuel</a:t>
            </a:r>
            <a:endParaRPr lang="en-GB" sz="2200" b="1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5" name="Symbol zastępczy numeru slajdu 2"/>
          <p:cNvSpPr txBox="1">
            <a:spLocks/>
          </p:cNvSpPr>
          <p:nvPr/>
        </p:nvSpPr>
        <p:spPr>
          <a:xfrm>
            <a:off x="6457951" y="6392834"/>
            <a:ext cx="1851848" cy="328646"/>
          </a:xfrm>
          <a:prstGeom prst="rect">
            <a:avLst/>
          </a:prstGeom>
        </p:spPr>
        <p:txBody>
          <a:bodyPr/>
          <a:lstStyle>
            <a:defPPr>
              <a:defRPr lang="pl-P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1903DCD-27CB-4E68-94D6-0EB6FA1FC2E1}" type="slidenum">
              <a:rPr lang="pl-PL" smtClean="0">
                <a:solidFill>
                  <a:schemeClr val="bg1"/>
                </a:solidFill>
              </a:rPr>
              <a:pPr/>
              <a:t>14</a:t>
            </a:fld>
            <a:endParaRPr lang="pl-PL" dirty="0">
              <a:solidFill>
                <a:schemeClr val="bg1"/>
              </a:solidFill>
            </a:endParaRPr>
          </a:p>
        </p:txBody>
      </p:sp>
      <p:pic>
        <p:nvPicPr>
          <p:cNvPr id="29" name="Obraz 28">
            <a:extLst>
              <a:ext uri="{FF2B5EF4-FFF2-40B4-BE49-F238E27FC236}">
                <a16:creationId xmlns:a16="http://schemas.microsoft.com/office/drawing/2014/main" id="{9E6D2463-54C1-4B78-9080-1DF3F07AADA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6325" y="52990"/>
            <a:ext cx="521892" cy="615547"/>
          </a:xfrm>
          <a:prstGeom prst="rect">
            <a:avLst/>
          </a:prstGeom>
        </p:spPr>
      </p:pic>
      <p:grpSp>
        <p:nvGrpSpPr>
          <p:cNvPr id="56" name="Group 179">
            <a:extLst>
              <a:ext uri="{FF2B5EF4-FFF2-40B4-BE49-F238E27FC236}">
                <a16:creationId xmlns:a16="http://schemas.microsoft.com/office/drawing/2014/main" id="{85F48EC2-92B7-4AEF-AD3C-7DE085EBB402}"/>
              </a:ext>
            </a:extLst>
          </p:cNvPr>
          <p:cNvGrpSpPr>
            <a:grpSpLocks/>
          </p:cNvGrpSpPr>
          <p:nvPr/>
        </p:nvGrpSpPr>
        <p:grpSpPr bwMode="auto">
          <a:xfrm>
            <a:off x="1347151" y="3234352"/>
            <a:ext cx="1133274" cy="956759"/>
            <a:chOff x="1106" y="477"/>
            <a:chExt cx="2621" cy="1949"/>
          </a:xfrm>
        </p:grpSpPr>
        <p:pic>
          <p:nvPicPr>
            <p:cNvPr id="57" name="Picture 180">
              <a:extLst>
                <a:ext uri="{FF2B5EF4-FFF2-40B4-BE49-F238E27FC236}">
                  <a16:creationId xmlns:a16="http://schemas.microsoft.com/office/drawing/2014/main" id="{20C23EEC-8312-42C0-9EB1-665D39CF651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106" y="477"/>
              <a:ext cx="2167" cy="18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8" name="Picture 181">
              <a:extLst>
                <a:ext uri="{FF2B5EF4-FFF2-40B4-BE49-F238E27FC236}">
                  <a16:creationId xmlns:a16="http://schemas.microsoft.com/office/drawing/2014/main" id="{02AB46F4-3A3D-4388-941F-4704EC69EB6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2484" y="780"/>
              <a:ext cx="1243" cy="16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9" name="Picture 182">
              <a:extLst>
                <a:ext uri="{FF2B5EF4-FFF2-40B4-BE49-F238E27FC236}">
                  <a16:creationId xmlns:a16="http://schemas.microsoft.com/office/drawing/2014/main" id="{26048AF3-55F3-436A-9437-4F0D75FE541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1723" y="1322"/>
              <a:ext cx="946" cy="11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75" name="Grupa 74">
            <a:extLst>
              <a:ext uri="{FF2B5EF4-FFF2-40B4-BE49-F238E27FC236}">
                <a16:creationId xmlns:a16="http://schemas.microsoft.com/office/drawing/2014/main" id="{83153F8D-EB50-482E-AE5D-2C525F87D1B7}"/>
              </a:ext>
            </a:extLst>
          </p:cNvPr>
          <p:cNvGrpSpPr/>
          <p:nvPr/>
        </p:nvGrpSpPr>
        <p:grpSpPr>
          <a:xfrm>
            <a:off x="1194284" y="2155956"/>
            <a:ext cx="1478765" cy="913029"/>
            <a:chOff x="1194284" y="1997478"/>
            <a:chExt cx="1478765" cy="913029"/>
          </a:xfrm>
        </p:grpSpPr>
        <p:pic>
          <p:nvPicPr>
            <p:cNvPr id="60" name="Picture 154">
              <a:extLst>
                <a:ext uri="{FF2B5EF4-FFF2-40B4-BE49-F238E27FC236}">
                  <a16:creationId xmlns:a16="http://schemas.microsoft.com/office/drawing/2014/main" id="{45FC3080-F48B-4FCF-9F70-D0D16384E7F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1194284" y="1997478"/>
              <a:ext cx="1115772" cy="6348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1" name="Picture 155">
              <a:extLst>
                <a:ext uri="{FF2B5EF4-FFF2-40B4-BE49-F238E27FC236}">
                  <a16:creationId xmlns:a16="http://schemas.microsoft.com/office/drawing/2014/main" id="{54EEF5FF-E984-47E5-AC46-A3A05FDC61D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1650618" y="2163795"/>
              <a:ext cx="1022431" cy="7467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2" name="Picture 156">
              <a:extLst>
                <a:ext uri="{FF2B5EF4-FFF2-40B4-BE49-F238E27FC236}">
                  <a16:creationId xmlns:a16="http://schemas.microsoft.com/office/drawing/2014/main" id="{6A63F058-4BEB-4372-AFC3-4C1565F6F4A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1399548" y="2434613"/>
              <a:ext cx="514240" cy="3885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6" name="Grupa 15">
            <a:extLst>
              <a:ext uri="{FF2B5EF4-FFF2-40B4-BE49-F238E27FC236}">
                <a16:creationId xmlns:a16="http://schemas.microsoft.com/office/drawing/2014/main" id="{A48D1C13-435A-4309-84CF-B5AAD39DA4C5}"/>
              </a:ext>
            </a:extLst>
          </p:cNvPr>
          <p:cNvGrpSpPr/>
          <p:nvPr/>
        </p:nvGrpSpPr>
        <p:grpSpPr>
          <a:xfrm>
            <a:off x="1078040" y="930028"/>
            <a:ext cx="1934235" cy="921860"/>
            <a:chOff x="1078040" y="843558"/>
            <a:chExt cx="1934235" cy="921860"/>
          </a:xfrm>
        </p:grpSpPr>
        <p:pic>
          <p:nvPicPr>
            <p:cNvPr id="63" name="Picture 145">
              <a:extLst>
                <a:ext uri="{FF2B5EF4-FFF2-40B4-BE49-F238E27FC236}">
                  <a16:creationId xmlns:a16="http://schemas.microsoft.com/office/drawing/2014/main" id="{DBC82D4F-5BC0-4A77-BDBF-4F89E690C28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1078040" y="843558"/>
              <a:ext cx="1934235" cy="9218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4" name="Picture 146">
              <a:extLst>
                <a:ext uri="{FF2B5EF4-FFF2-40B4-BE49-F238E27FC236}">
                  <a16:creationId xmlns:a16="http://schemas.microsoft.com/office/drawing/2014/main" id="{35C3C76C-E579-4D31-AFB4-276FDF54CA4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1303182" y="1058937"/>
              <a:ext cx="902730" cy="6083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65" name="pole tekstowe 64">
            <a:extLst>
              <a:ext uri="{FF2B5EF4-FFF2-40B4-BE49-F238E27FC236}">
                <a16:creationId xmlns:a16="http://schemas.microsoft.com/office/drawing/2014/main" id="{2102E5C4-D142-4278-AC96-54B1EA849128}"/>
              </a:ext>
            </a:extLst>
          </p:cNvPr>
          <p:cNvSpPr txBox="1"/>
          <p:nvPr/>
        </p:nvSpPr>
        <p:spPr>
          <a:xfrm>
            <a:off x="595970" y="1788559"/>
            <a:ext cx="25881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1400" b="1" dirty="0">
                <a:solidFill>
                  <a:prstClr val="black"/>
                </a:solidFill>
                <a:latin typeface="Calibri"/>
              </a:rPr>
              <a:t>All grades of Coal &amp; Coal Wastes</a:t>
            </a:r>
          </a:p>
        </p:txBody>
      </p:sp>
      <p:sp>
        <p:nvSpPr>
          <p:cNvPr id="66" name="pole tekstowe 65">
            <a:extLst>
              <a:ext uri="{FF2B5EF4-FFF2-40B4-BE49-F238E27FC236}">
                <a16:creationId xmlns:a16="http://schemas.microsoft.com/office/drawing/2014/main" id="{75BF5C9A-8B09-4B57-9C60-FC6E6B247CA4}"/>
              </a:ext>
            </a:extLst>
          </p:cNvPr>
          <p:cNvSpPr txBox="1"/>
          <p:nvPr/>
        </p:nvSpPr>
        <p:spPr>
          <a:xfrm>
            <a:off x="687679" y="2934870"/>
            <a:ext cx="23245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1400" b="1" dirty="0">
                <a:solidFill>
                  <a:prstClr val="black"/>
                </a:solidFill>
                <a:latin typeface="Calibri"/>
              </a:rPr>
              <a:t>Biomass &amp; Wood Wastes</a:t>
            </a:r>
            <a:endParaRPr lang="en-US" sz="2800" b="1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7" name="pole tekstowe 66">
            <a:extLst>
              <a:ext uri="{FF2B5EF4-FFF2-40B4-BE49-F238E27FC236}">
                <a16:creationId xmlns:a16="http://schemas.microsoft.com/office/drawing/2014/main" id="{FFC6954F-08B9-4139-88EB-E357E211ACAD}"/>
              </a:ext>
            </a:extLst>
          </p:cNvPr>
          <p:cNvSpPr txBox="1"/>
          <p:nvPr/>
        </p:nvSpPr>
        <p:spPr>
          <a:xfrm>
            <a:off x="712419" y="4149141"/>
            <a:ext cx="23245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1400" b="1" dirty="0">
                <a:solidFill>
                  <a:prstClr val="black"/>
                </a:solidFill>
                <a:latin typeface="Calibri"/>
              </a:rPr>
              <a:t>MSW, RDF &amp; Other Wastes</a:t>
            </a:r>
          </a:p>
        </p:txBody>
      </p:sp>
      <p:sp>
        <p:nvSpPr>
          <p:cNvPr id="69" name="Arrow: Right 117">
            <a:extLst>
              <a:ext uri="{FF2B5EF4-FFF2-40B4-BE49-F238E27FC236}">
                <a16:creationId xmlns:a16="http://schemas.microsoft.com/office/drawing/2014/main" id="{BBA1A564-EBBE-404B-B511-0EAC5F059733}"/>
              </a:ext>
            </a:extLst>
          </p:cNvPr>
          <p:cNvSpPr/>
          <p:nvPr/>
        </p:nvSpPr>
        <p:spPr>
          <a:xfrm>
            <a:off x="2979098" y="2488087"/>
            <a:ext cx="565704" cy="366473"/>
          </a:xfrm>
          <a:prstGeom prst="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0" name="Arrow: Right 117">
            <a:extLst>
              <a:ext uri="{FF2B5EF4-FFF2-40B4-BE49-F238E27FC236}">
                <a16:creationId xmlns:a16="http://schemas.microsoft.com/office/drawing/2014/main" id="{6E57E09A-50C5-4B4E-8E09-C475AF626811}"/>
              </a:ext>
            </a:extLst>
          </p:cNvPr>
          <p:cNvSpPr/>
          <p:nvPr/>
        </p:nvSpPr>
        <p:spPr>
          <a:xfrm>
            <a:off x="5253823" y="2488087"/>
            <a:ext cx="565705" cy="366473"/>
          </a:xfrm>
          <a:prstGeom prst="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71" name="Obraz 70">
            <a:extLst>
              <a:ext uri="{FF2B5EF4-FFF2-40B4-BE49-F238E27FC236}">
                <a16:creationId xmlns:a16="http://schemas.microsoft.com/office/drawing/2014/main" id="{8A9AFA00-5424-40CD-833F-D16B011AAFD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151582" y="1002036"/>
            <a:ext cx="2118744" cy="1018061"/>
          </a:xfrm>
          <a:prstGeom prst="rect">
            <a:avLst/>
          </a:prstGeom>
        </p:spPr>
      </p:pic>
      <p:pic>
        <p:nvPicPr>
          <p:cNvPr id="72" name="Obraz 71">
            <a:extLst>
              <a:ext uri="{FF2B5EF4-FFF2-40B4-BE49-F238E27FC236}">
                <a16:creationId xmlns:a16="http://schemas.microsoft.com/office/drawing/2014/main" id="{B569F8FA-390B-44DF-A72D-8E0C649BF0AF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151581" y="2162171"/>
            <a:ext cx="2118744" cy="1018061"/>
          </a:xfrm>
          <a:prstGeom prst="rect">
            <a:avLst/>
          </a:prstGeom>
        </p:spPr>
      </p:pic>
      <p:pic>
        <p:nvPicPr>
          <p:cNvPr id="73" name="Obraz 72">
            <a:extLst>
              <a:ext uri="{FF2B5EF4-FFF2-40B4-BE49-F238E27FC236}">
                <a16:creationId xmlns:a16="http://schemas.microsoft.com/office/drawing/2014/main" id="{628B6688-B6E9-4848-8D7C-DFE690960496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151581" y="3319969"/>
            <a:ext cx="2118744" cy="1018061"/>
          </a:xfrm>
          <a:prstGeom prst="rect">
            <a:avLst/>
          </a:prstGeom>
        </p:spPr>
      </p:pic>
      <p:sp>
        <p:nvSpPr>
          <p:cNvPr id="27" name="pole tekstowe 26">
            <a:extLst>
              <a:ext uri="{FF2B5EF4-FFF2-40B4-BE49-F238E27FC236}">
                <a16:creationId xmlns:a16="http://schemas.microsoft.com/office/drawing/2014/main" id="{9F95DEDC-DBBE-478E-A40C-C96DB9203CCE}"/>
              </a:ext>
            </a:extLst>
          </p:cNvPr>
          <p:cNvSpPr txBox="1"/>
          <p:nvPr/>
        </p:nvSpPr>
        <p:spPr>
          <a:xfrm>
            <a:off x="8777845" y="4866501"/>
            <a:ext cx="3661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>
                <a:latin typeface="Calibri" panose="020F0502020204030204" pitchFamily="34" charset="0"/>
                <a:cs typeface="Calibri" panose="020F0502020204030204" pitchFamily="34" charset="0"/>
              </a:rPr>
              <a:t>14</a:t>
            </a:r>
          </a:p>
        </p:txBody>
      </p:sp>
    </p:spTree>
    <p:extLst>
      <p:ext uri="{BB962C8B-B14F-4D97-AF65-F5344CB8AC3E}">
        <p14:creationId xmlns:p14="http://schemas.microsoft.com/office/powerpoint/2010/main" val="777964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500"/>
                            </p:stCondLst>
                            <p:childTnLst>
                              <p:par>
                                <p:cTn id="24" presetID="42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4000"/>
                            </p:stCondLst>
                            <p:childTnLst>
                              <p:par>
                                <p:cTn id="30" presetID="53" presetClass="entr" presetSubtype="16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500"/>
                            </p:stCondLst>
                            <p:childTnLst>
                              <p:par>
                                <p:cTn id="36" presetID="42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7000"/>
                            </p:stCondLst>
                            <p:childTnLst>
                              <p:par>
                                <p:cTn id="42" presetID="6" presetClass="entr" presetSubtype="32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44" dur="10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6" presetClass="entr" presetSubtype="3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47" dur="1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6" presetClass="entr" presetSubtype="3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50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" grpId="0"/>
      <p:bldP spid="66" grpId="0"/>
      <p:bldP spid="67" grpId="0"/>
      <p:bldP spid="69" grpId="0" animBg="1"/>
      <p:bldP spid="70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ole tekstowe 7"/>
          <p:cNvSpPr txBox="1"/>
          <p:nvPr/>
        </p:nvSpPr>
        <p:spPr>
          <a:xfrm>
            <a:off x="859126" y="1419622"/>
            <a:ext cx="7889337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1800"/>
              </a:spcBef>
              <a:buClr>
                <a:srgbClr val="003296"/>
              </a:buClr>
              <a:buSzPct val="150000"/>
              <a:buFont typeface="Arial" pitchFamily="34" charset="0"/>
              <a:buChar char="→"/>
            </a:pPr>
            <a:r>
              <a:rPr lang="en-AU" sz="2400" b="1" cap="small" dirty="0">
                <a:latin typeface="Calibri" panose="020F0502020204030204" pitchFamily="34" charset="0"/>
              </a:rPr>
              <a:t>Maintaining</a:t>
            </a:r>
            <a:r>
              <a:rPr lang="pl-PL" sz="2400" b="1" cap="small" dirty="0">
                <a:latin typeface="Calibri" panose="020F0502020204030204" pitchFamily="34" charset="0"/>
              </a:rPr>
              <a:t> </a:t>
            </a:r>
            <a:r>
              <a:rPr lang="en-AU" sz="2400" b="1" cap="small" dirty="0">
                <a:latin typeface="Calibri" panose="020F0502020204030204" pitchFamily="34" charset="0"/>
              </a:rPr>
              <a:t>competitiveness</a:t>
            </a:r>
          </a:p>
          <a:p>
            <a:pPr marL="285750" indent="-285750">
              <a:spcBef>
                <a:spcPts val="1800"/>
              </a:spcBef>
              <a:buClr>
                <a:srgbClr val="003296"/>
              </a:buClr>
              <a:buSzPct val="150000"/>
              <a:buFont typeface="Arial" pitchFamily="34" charset="0"/>
              <a:buChar char="→"/>
            </a:pPr>
            <a:r>
              <a:rPr lang="en-GB" sz="2400" b="1" i="0" u="none" cap="small" baseline="0" dirty="0">
                <a:latin typeface="Calibri" panose="020F0502020204030204" pitchFamily="34" charset="0"/>
              </a:rPr>
              <a:t>Responsible transfer of competencies</a:t>
            </a:r>
            <a:endParaRPr lang="pl-PL" sz="2400" b="1" i="0" u="none" cap="small" baseline="0" dirty="0">
              <a:latin typeface="Calibri" panose="020F0502020204030204" pitchFamily="34" charset="0"/>
            </a:endParaRPr>
          </a:p>
          <a:p>
            <a:pPr marL="285750" indent="-285750">
              <a:spcBef>
                <a:spcPts val="1800"/>
              </a:spcBef>
              <a:buClr>
                <a:srgbClr val="003296"/>
              </a:buClr>
              <a:buSzPct val="150000"/>
              <a:buFont typeface="Arial" pitchFamily="34" charset="0"/>
              <a:buChar char="→"/>
            </a:pPr>
            <a:r>
              <a:rPr lang="en-GB" sz="2400" b="1" cap="small" dirty="0">
                <a:latin typeface="Calibri" panose="020F0502020204030204" pitchFamily="34" charset="0"/>
              </a:rPr>
              <a:t>development of new technologies</a:t>
            </a:r>
          </a:p>
          <a:p>
            <a:pPr marL="285750" indent="-285750">
              <a:spcBef>
                <a:spcPts val="1800"/>
              </a:spcBef>
              <a:buClr>
                <a:srgbClr val="003296"/>
              </a:buClr>
              <a:buSzPct val="150000"/>
              <a:buFont typeface="Arial" pitchFamily="34" charset="0"/>
              <a:buChar char="→"/>
            </a:pPr>
            <a:r>
              <a:rPr lang="en-AU" sz="2400" b="1" cap="small" dirty="0">
                <a:latin typeface="Calibri" panose="020F0502020204030204" pitchFamily="34" charset="0"/>
              </a:rPr>
              <a:t>Reliable social dialogue</a:t>
            </a:r>
          </a:p>
          <a:p>
            <a:pPr marL="285750" indent="-285750">
              <a:spcBef>
                <a:spcPts val="1800"/>
              </a:spcBef>
              <a:buClr>
                <a:srgbClr val="003296"/>
              </a:buClr>
              <a:buSzPct val="150000"/>
              <a:buFont typeface="Arial" pitchFamily="34" charset="0"/>
              <a:buChar char="→"/>
            </a:pPr>
            <a:r>
              <a:rPr lang="en-GB" sz="2400" b="1" i="0" u="none" cap="small" baseline="0" dirty="0">
                <a:latin typeface="Calibri" panose="020F0502020204030204" pitchFamily="34" charset="0"/>
              </a:rPr>
              <a:t>Providing the appropriate level of financing</a:t>
            </a:r>
          </a:p>
        </p:txBody>
      </p:sp>
      <p:cxnSp>
        <p:nvCxnSpPr>
          <p:cNvPr id="20" name="Łącznik prosty 19"/>
          <p:cNvCxnSpPr/>
          <p:nvPr/>
        </p:nvCxnSpPr>
        <p:spPr>
          <a:xfrm>
            <a:off x="859126" y="1"/>
            <a:ext cx="0" cy="52279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pole tekstowe 20"/>
          <p:cNvSpPr txBox="1"/>
          <p:nvPr/>
        </p:nvSpPr>
        <p:spPr>
          <a:xfrm>
            <a:off x="827584" y="274562"/>
            <a:ext cx="7301590" cy="397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AU" sz="2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ummary – conditions of transition</a:t>
            </a:r>
          </a:p>
        </p:txBody>
      </p:sp>
      <p:pic>
        <p:nvPicPr>
          <p:cNvPr id="9" name="Obraz 8">
            <a:extLst>
              <a:ext uri="{FF2B5EF4-FFF2-40B4-BE49-F238E27FC236}">
                <a16:creationId xmlns:a16="http://schemas.microsoft.com/office/drawing/2014/main" id="{899ABE97-5A83-4A3D-99A6-5F5675D9D4B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6325" y="52990"/>
            <a:ext cx="521892" cy="615547"/>
          </a:xfrm>
          <a:prstGeom prst="rect">
            <a:avLst/>
          </a:prstGeom>
        </p:spPr>
      </p:pic>
      <p:sp>
        <p:nvSpPr>
          <p:cNvPr id="6" name="pole tekstowe 5">
            <a:extLst>
              <a:ext uri="{FF2B5EF4-FFF2-40B4-BE49-F238E27FC236}">
                <a16:creationId xmlns:a16="http://schemas.microsoft.com/office/drawing/2014/main" id="{8E4F2EEE-F3B0-4367-B4C1-F78364E88825}"/>
              </a:ext>
            </a:extLst>
          </p:cNvPr>
          <p:cNvSpPr txBox="1"/>
          <p:nvPr/>
        </p:nvSpPr>
        <p:spPr>
          <a:xfrm>
            <a:off x="8777845" y="4866501"/>
            <a:ext cx="3661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>
                <a:latin typeface="Calibri" panose="020F0502020204030204" pitchFamily="34" charset="0"/>
                <a:cs typeface="Calibri" panose="020F0502020204030204" pitchFamily="34" charset="0"/>
              </a:rPr>
              <a:t>15</a:t>
            </a:r>
          </a:p>
        </p:txBody>
      </p:sp>
    </p:spTree>
    <p:extLst>
      <p:ext uri="{BB962C8B-B14F-4D97-AF65-F5344CB8AC3E}">
        <p14:creationId xmlns:p14="http://schemas.microsoft.com/office/powerpoint/2010/main" val="10270877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500"/>
                            </p:stCondLst>
                            <p:childTnLst>
                              <p:par>
                                <p:cTn id="11" presetID="42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2000" fill="hold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000" fill="hold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0"/>
                            </p:stCondLst>
                            <p:childTnLst>
                              <p:par>
                                <p:cTn id="17" presetID="42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20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20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7500"/>
                            </p:stCondLst>
                            <p:childTnLst>
                              <p:par>
                                <p:cTn id="23" presetID="42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20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2000" fill="hold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0000"/>
                            </p:stCondLst>
                            <p:childTnLst>
                              <p:par>
                                <p:cTn id="29" presetID="42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2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2000" fill="hold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ole tekstowe 8"/>
          <p:cNvSpPr txBox="1"/>
          <p:nvPr/>
        </p:nvSpPr>
        <p:spPr>
          <a:xfrm>
            <a:off x="247857" y="1728332"/>
            <a:ext cx="54385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/>
            <a:r>
              <a:rPr lang="en-GB" sz="2400" b="1" i="0" u="none" baseline="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 for your attention</a:t>
            </a:r>
          </a:p>
        </p:txBody>
      </p:sp>
      <p:pic>
        <p:nvPicPr>
          <p:cNvPr id="2" name="Obraz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857" y="195486"/>
            <a:ext cx="2511770" cy="1079086"/>
          </a:xfrm>
          <a:prstGeom prst="rect">
            <a:avLst/>
          </a:prstGeom>
        </p:spPr>
      </p:pic>
      <p:pic>
        <p:nvPicPr>
          <p:cNvPr id="3" name="Obraz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0760" y="198470"/>
            <a:ext cx="3693241" cy="4356000"/>
          </a:xfrm>
          <a:prstGeom prst="rect">
            <a:avLst/>
          </a:prstGeom>
        </p:spPr>
      </p:pic>
      <p:sp>
        <p:nvSpPr>
          <p:cNvPr id="7" name="pole tekstowe 6"/>
          <p:cNvSpPr txBox="1"/>
          <p:nvPr/>
        </p:nvSpPr>
        <p:spPr>
          <a:xfrm>
            <a:off x="247857" y="2671732"/>
            <a:ext cx="543853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/>
            <a:r>
              <a:rPr lang="pl-PL" sz="1600" b="1" i="0" u="none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masz Rogala</a:t>
            </a:r>
          </a:p>
          <a:p>
            <a:pPr algn="l" rtl="0"/>
            <a:r>
              <a:rPr lang="pl-PL" sz="1600" cap="small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ief </a:t>
            </a:r>
            <a:r>
              <a:rPr lang="en-AU" sz="1600" cap="small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cutive Officer</a:t>
            </a:r>
          </a:p>
          <a:p>
            <a:pPr algn="l" rtl="0">
              <a:spcBef>
                <a:spcPts val="600"/>
              </a:spcBef>
            </a:pPr>
            <a:r>
              <a:rPr lang="pl-PL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masz.rogala@pgg.pl</a:t>
            </a:r>
          </a:p>
          <a:p>
            <a:pPr algn="l" rtl="0">
              <a:spcBef>
                <a:spcPts val="600"/>
              </a:spcBef>
            </a:pPr>
            <a:r>
              <a:rPr lang="pl-PL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:  </a:t>
            </a:r>
            <a:r>
              <a:rPr lang="pl-PL" sz="3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+48 32 757 2000</a:t>
            </a:r>
          </a:p>
          <a:p>
            <a:pPr algn="l" rtl="0"/>
            <a:r>
              <a:rPr lang="pl-PL" sz="1600" i="0" u="none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: +48 666 349 793 </a:t>
            </a:r>
            <a:endParaRPr lang="en-GB" sz="1600" i="0" u="none" baseline="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pole tekstowe 7">
            <a:extLst>
              <a:ext uri="{FF2B5EF4-FFF2-40B4-BE49-F238E27FC236}">
                <a16:creationId xmlns:a16="http://schemas.microsoft.com/office/drawing/2014/main" id="{CC9C3E55-184E-4DA6-8C30-C624E41502D4}"/>
              </a:ext>
            </a:extLst>
          </p:cNvPr>
          <p:cNvSpPr txBox="1"/>
          <p:nvPr/>
        </p:nvSpPr>
        <p:spPr>
          <a:xfrm>
            <a:off x="2" y="4801632"/>
            <a:ext cx="9143999" cy="3385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pl-PL" sz="1600" b="1" i="1" dirty="0">
                <a:solidFill>
                  <a:schemeClr val="bg2">
                    <a:lumMod val="50000"/>
                  </a:schemeClr>
                </a:solidFill>
                <a:cs typeface="Calibri" panose="020F0502020204030204" pitchFamily="34" charset="0"/>
              </a:rPr>
              <a:t>Energy Conference 2019, Sofia, 17 May</a:t>
            </a:r>
            <a:r>
              <a:rPr lang="en-GB" sz="1600" b="1" i="1" dirty="0">
                <a:solidFill>
                  <a:schemeClr val="bg2">
                    <a:lumMod val="50000"/>
                  </a:schemeClr>
                </a:solidFill>
                <a:cs typeface="Calibri" panose="020F0502020204030204" pitchFamily="34" charset="0"/>
              </a:rPr>
              <a:t> 201</a:t>
            </a:r>
            <a:r>
              <a:rPr lang="pl-PL" sz="1600" b="1" i="1" dirty="0">
                <a:solidFill>
                  <a:schemeClr val="bg2">
                    <a:lumMod val="50000"/>
                  </a:schemeClr>
                </a:solidFill>
                <a:cs typeface="Calibri" panose="020F0502020204030204" pitchFamily="34" charset="0"/>
              </a:rPr>
              <a:t>9 r.</a:t>
            </a:r>
            <a:r>
              <a:rPr lang="en-GB" sz="1600" b="1" i="1" dirty="0">
                <a:solidFill>
                  <a:schemeClr val="bg2">
                    <a:lumMod val="50000"/>
                  </a:schemeClr>
                </a:solidFill>
                <a:cs typeface="Calibri" panose="020F0502020204030204" pitchFamily="34" charset="0"/>
              </a:rPr>
              <a:t> </a:t>
            </a:r>
            <a:endParaRPr lang="en-GB" b="1" i="1" dirty="0">
              <a:solidFill>
                <a:schemeClr val="bg2">
                  <a:lumMod val="50000"/>
                </a:schemeClr>
              </a:solidFill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6376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Łącznik prosty 4"/>
          <p:cNvCxnSpPr/>
          <p:nvPr/>
        </p:nvCxnSpPr>
        <p:spPr>
          <a:xfrm>
            <a:off x="859126" y="1"/>
            <a:ext cx="0" cy="52279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ole tekstowe 9"/>
          <p:cNvSpPr txBox="1"/>
          <p:nvPr/>
        </p:nvSpPr>
        <p:spPr>
          <a:xfrm>
            <a:off x="827584" y="274562"/>
            <a:ext cx="7301590" cy="397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2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D</a:t>
            </a:r>
            <a:r>
              <a:rPr lang="en-US" sz="2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agnosis</a:t>
            </a:r>
            <a:r>
              <a:rPr lang="en-US" sz="2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of the current state</a:t>
            </a:r>
            <a:endParaRPr lang="pl-PL" sz="2200" b="1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5" name="Symbol zastępczy numeru slajdu 2"/>
          <p:cNvSpPr txBox="1">
            <a:spLocks/>
          </p:cNvSpPr>
          <p:nvPr/>
        </p:nvSpPr>
        <p:spPr>
          <a:xfrm>
            <a:off x="6457951" y="6392834"/>
            <a:ext cx="1851848" cy="328646"/>
          </a:xfrm>
          <a:prstGeom prst="rect">
            <a:avLst/>
          </a:prstGeom>
        </p:spPr>
        <p:txBody>
          <a:bodyPr/>
          <a:lstStyle>
            <a:defPPr>
              <a:defRPr lang="pl-P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1903DCD-27CB-4E68-94D6-0EB6FA1FC2E1}" type="slidenum">
              <a:rPr lang="pl-PL" smtClean="0">
                <a:solidFill>
                  <a:schemeClr val="bg1"/>
                </a:solidFill>
              </a:rPr>
              <a:pPr/>
              <a:t>2</a:t>
            </a:fld>
            <a:endParaRPr lang="pl-PL" dirty="0">
              <a:solidFill>
                <a:schemeClr val="bg1"/>
              </a:solidFill>
            </a:endParaRPr>
          </a:p>
        </p:txBody>
      </p:sp>
      <p:pic>
        <p:nvPicPr>
          <p:cNvPr id="29" name="Obraz 28">
            <a:extLst>
              <a:ext uri="{FF2B5EF4-FFF2-40B4-BE49-F238E27FC236}">
                <a16:creationId xmlns:a16="http://schemas.microsoft.com/office/drawing/2014/main" id="{9E6D2463-54C1-4B78-9080-1DF3F07AADA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6325" y="52990"/>
            <a:ext cx="521892" cy="615547"/>
          </a:xfrm>
          <a:prstGeom prst="rect">
            <a:avLst/>
          </a:prstGeom>
        </p:spPr>
      </p:pic>
      <p:pic>
        <p:nvPicPr>
          <p:cNvPr id="4" name="Obraz 3">
            <a:extLst>
              <a:ext uri="{FF2B5EF4-FFF2-40B4-BE49-F238E27FC236}">
                <a16:creationId xmlns:a16="http://schemas.microsoft.com/office/drawing/2014/main" id="{1E056241-032B-4B0B-B3DC-831BC8027F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7584" y="847543"/>
            <a:ext cx="4176464" cy="1425432"/>
          </a:xfrm>
          <a:prstGeom prst="rect">
            <a:avLst/>
          </a:prstGeom>
        </p:spPr>
      </p:pic>
      <p:sp>
        <p:nvSpPr>
          <p:cNvPr id="6" name="Prostokąt 5">
            <a:extLst>
              <a:ext uri="{FF2B5EF4-FFF2-40B4-BE49-F238E27FC236}">
                <a16:creationId xmlns:a16="http://schemas.microsoft.com/office/drawing/2014/main" id="{F3BA8023-1D98-4B63-9A7C-940303949824}"/>
              </a:ext>
            </a:extLst>
          </p:cNvPr>
          <p:cNvSpPr/>
          <p:nvPr/>
        </p:nvSpPr>
        <p:spPr>
          <a:xfrm>
            <a:off x="5010229" y="1347614"/>
            <a:ext cx="354142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i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„EU coal regions: opportunities </a:t>
            </a:r>
            <a:br>
              <a:rPr lang="en-US" b="1" i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b="1" i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d challenges </a:t>
            </a:r>
            <a:r>
              <a:rPr lang="pl-PL" b="1" i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</a:t>
            </a:r>
            <a:r>
              <a:rPr lang="en-US" b="1" i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ad”</a:t>
            </a:r>
          </a:p>
        </p:txBody>
      </p:sp>
      <p:sp>
        <p:nvSpPr>
          <p:cNvPr id="7" name="Prostokąt 6">
            <a:extLst>
              <a:ext uri="{FF2B5EF4-FFF2-40B4-BE49-F238E27FC236}">
                <a16:creationId xmlns:a16="http://schemas.microsoft.com/office/drawing/2014/main" id="{0339E4C3-10B4-40ED-B880-5F02F145C2A1}"/>
              </a:ext>
            </a:extLst>
          </p:cNvPr>
          <p:cNvSpPr/>
          <p:nvPr/>
        </p:nvSpPr>
        <p:spPr>
          <a:xfrm>
            <a:off x="1835695" y="2453552"/>
            <a:ext cx="69421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2400"/>
              </a:spcBef>
              <a:buClr>
                <a:srgbClr val="C00000"/>
              </a:buClr>
            </a:pPr>
            <a:r>
              <a:rPr lang="en-GB" sz="2400" b="1" dirty="0">
                <a:solidFill>
                  <a:srgbClr val="C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41 </a:t>
            </a:r>
            <a:r>
              <a:rPr lang="pl-PL" sz="2400" b="1" dirty="0">
                <a:solidFill>
                  <a:srgbClr val="C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c</a:t>
            </a:r>
            <a:r>
              <a:rPr lang="en-GB" sz="2400" b="1" dirty="0" err="1">
                <a:solidFill>
                  <a:srgbClr val="C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oal</a:t>
            </a:r>
            <a:r>
              <a:rPr lang="en-GB" sz="2400" b="1" dirty="0">
                <a:solidFill>
                  <a:srgbClr val="C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regions</a:t>
            </a:r>
            <a:r>
              <a:rPr lang="pl-PL" sz="2400" b="1" dirty="0">
                <a:solidFill>
                  <a:srgbClr val="C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in the EU</a:t>
            </a:r>
            <a:endParaRPr lang="en-GB" sz="2400" b="1" dirty="0">
              <a:solidFill>
                <a:srgbClr val="C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" name="pole tekstowe 1">
            <a:extLst>
              <a:ext uri="{FF2B5EF4-FFF2-40B4-BE49-F238E27FC236}">
                <a16:creationId xmlns:a16="http://schemas.microsoft.com/office/drawing/2014/main" id="{F00024BA-AA8B-49FA-818F-66EC28155611}"/>
              </a:ext>
            </a:extLst>
          </p:cNvPr>
          <p:cNvSpPr txBox="1"/>
          <p:nvPr/>
        </p:nvSpPr>
        <p:spPr>
          <a:xfrm>
            <a:off x="8777845" y="4866501"/>
            <a:ext cx="3661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3" name="Strzałka: w prawo 2">
            <a:extLst>
              <a:ext uri="{FF2B5EF4-FFF2-40B4-BE49-F238E27FC236}">
                <a16:creationId xmlns:a16="http://schemas.microsoft.com/office/drawing/2014/main" id="{B0301FAF-3383-48C9-846F-61E5A822BD08}"/>
              </a:ext>
            </a:extLst>
          </p:cNvPr>
          <p:cNvSpPr/>
          <p:nvPr/>
        </p:nvSpPr>
        <p:spPr>
          <a:xfrm>
            <a:off x="865295" y="2510486"/>
            <a:ext cx="898393" cy="360040"/>
          </a:xfrm>
          <a:prstGeom prst="rightArrow">
            <a:avLst/>
          </a:prstGeom>
          <a:noFill/>
          <a:ln>
            <a:solidFill>
              <a:srgbClr val="B40E0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600" dirty="0">
              <a:solidFill>
                <a:srgbClr val="540E0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1" name="Strzałka: w prawo 10">
            <a:extLst>
              <a:ext uri="{FF2B5EF4-FFF2-40B4-BE49-F238E27FC236}">
                <a16:creationId xmlns:a16="http://schemas.microsoft.com/office/drawing/2014/main" id="{329CFD42-F369-4D99-863E-8E1495AB9480}"/>
              </a:ext>
            </a:extLst>
          </p:cNvPr>
          <p:cNvSpPr/>
          <p:nvPr/>
        </p:nvSpPr>
        <p:spPr>
          <a:xfrm>
            <a:off x="865295" y="3178154"/>
            <a:ext cx="898393" cy="360040"/>
          </a:xfrm>
          <a:prstGeom prst="rightArrow">
            <a:avLst/>
          </a:prstGeom>
          <a:noFill/>
          <a:ln>
            <a:solidFill>
              <a:srgbClr val="B40E0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600" dirty="0">
              <a:solidFill>
                <a:srgbClr val="540E0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3" name="Strzałka: w prawo 12">
            <a:extLst>
              <a:ext uri="{FF2B5EF4-FFF2-40B4-BE49-F238E27FC236}">
                <a16:creationId xmlns:a16="http://schemas.microsoft.com/office/drawing/2014/main" id="{A3B13B74-E3AE-464A-8AF8-554A4F513D68}"/>
              </a:ext>
            </a:extLst>
          </p:cNvPr>
          <p:cNvSpPr/>
          <p:nvPr/>
        </p:nvSpPr>
        <p:spPr>
          <a:xfrm>
            <a:off x="865295" y="3839728"/>
            <a:ext cx="898393" cy="360040"/>
          </a:xfrm>
          <a:prstGeom prst="rightArrow">
            <a:avLst/>
          </a:prstGeom>
          <a:noFill/>
          <a:ln>
            <a:solidFill>
              <a:srgbClr val="B40E0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600" dirty="0">
              <a:solidFill>
                <a:srgbClr val="540E0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4" name="Prostokąt 13">
            <a:extLst>
              <a:ext uri="{FF2B5EF4-FFF2-40B4-BE49-F238E27FC236}">
                <a16:creationId xmlns:a16="http://schemas.microsoft.com/office/drawing/2014/main" id="{F7A4DBE9-A12C-4F47-87E9-6531ECC26535}"/>
              </a:ext>
            </a:extLst>
          </p:cNvPr>
          <p:cNvSpPr/>
          <p:nvPr/>
        </p:nvSpPr>
        <p:spPr>
          <a:xfrm>
            <a:off x="1835695" y="3127341"/>
            <a:ext cx="69421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2400"/>
              </a:spcBef>
              <a:buClr>
                <a:srgbClr val="C00000"/>
              </a:buClr>
            </a:pPr>
            <a:r>
              <a:rPr lang="en-GB" sz="2400" b="1" dirty="0">
                <a:solidFill>
                  <a:srgbClr val="C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237</a:t>
            </a:r>
            <a:r>
              <a:rPr lang="pl-PL" sz="2400" b="1" dirty="0">
                <a:solidFill>
                  <a:srgbClr val="C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,000 </a:t>
            </a:r>
            <a:r>
              <a:rPr lang="en-GB" sz="2400" b="1" dirty="0">
                <a:solidFill>
                  <a:srgbClr val="C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jobs</a:t>
            </a:r>
          </a:p>
        </p:txBody>
      </p:sp>
      <p:sp>
        <p:nvSpPr>
          <p:cNvPr id="16" name="Prostokąt 15">
            <a:extLst>
              <a:ext uri="{FF2B5EF4-FFF2-40B4-BE49-F238E27FC236}">
                <a16:creationId xmlns:a16="http://schemas.microsoft.com/office/drawing/2014/main" id="{58530A8D-F373-4A0E-80A8-171C0C33EAC2}"/>
              </a:ext>
            </a:extLst>
          </p:cNvPr>
          <p:cNvSpPr/>
          <p:nvPr/>
        </p:nvSpPr>
        <p:spPr>
          <a:xfrm>
            <a:off x="1835695" y="3788915"/>
            <a:ext cx="69421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2400"/>
              </a:spcBef>
              <a:buClr>
                <a:srgbClr val="C00000"/>
              </a:buClr>
            </a:pPr>
            <a:r>
              <a:rPr lang="pl-PL" sz="2400" b="1" dirty="0">
                <a:solidFill>
                  <a:srgbClr val="C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By</a:t>
            </a:r>
            <a:r>
              <a:rPr lang="en-GB" sz="2400" b="1" dirty="0">
                <a:solidFill>
                  <a:srgbClr val="C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2030 about 160</a:t>
            </a:r>
            <a:r>
              <a:rPr lang="pl-PL" sz="2400" b="1" dirty="0">
                <a:solidFill>
                  <a:srgbClr val="C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,000</a:t>
            </a:r>
            <a:r>
              <a:rPr lang="en-GB" sz="2400" b="1" dirty="0">
                <a:solidFill>
                  <a:srgbClr val="C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people will lose their jobs</a:t>
            </a:r>
          </a:p>
        </p:txBody>
      </p:sp>
    </p:spTree>
    <p:extLst>
      <p:ext uri="{BB962C8B-B14F-4D97-AF65-F5344CB8AC3E}">
        <p14:creationId xmlns:p14="http://schemas.microsoft.com/office/powerpoint/2010/main" val="4094683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000"/>
                            </p:stCondLst>
                            <p:childTnLst>
                              <p:par>
                                <p:cTn id="13" presetID="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4500"/>
                            </p:stCondLst>
                            <p:childTnLst>
                              <p:par>
                                <p:cTn id="18" presetID="2" presetClass="entr" presetSubtype="8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6500"/>
                            </p:stCondLst>
                            <p:childTnLst>
                              <p:par>
                                <p:cTn id="23" presetID="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8000"/>
                            </p:stCondLst>
                            <p:childTnLst>
                              <p:par>
                                <p:cTn id="28" presetID="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9500"/>
                            </p:stCondLst>
                            <p:childTnLst>
                              <p:par>
                                <p:cTn id="33" presetID="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1000"/>
                            </p:stCondLst>
                            <p:childTnLst>
                              <p:par>
                                <p:cTn id="38" presetID="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3" grpId="0" animBg="1"/>
      <p:bldP spid="11" grpId="0" animBg="1"/>
      <p:bldP spid="13" grpId="0" animBg="1"/>
      <p:bldP spid="14" grpId="0"/>
      <p:bldP spid="1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Łącznik prosty 4"/>
          <p:cNvCxnSpPr/>
          <p:nvPr/>
        </p:nvCxnSpPr>
        <p:spPr>
          <a:xfrm>
            <a:off x="859126" y="1"/>
            <a:ext cx="0" cy="52279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ole tekstowe 9"/>
          <p:cNvSpPr txBox="1"/>
          <p:nvPr/>
        </p:nvSpPr>
        <p:spPr>
          <a:xfrm>
            <a:off x="827584" y="271505"/>
            <a:ext cx="7301590" cy="397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AU" sz="2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Net-zero emission economy requires investments</a:t>
            </a:r>
            <a:endParaRPr lang="en-AU" sz="2200" b="1" i="1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5" name="Symbol zastępczy numeru slajdu 2"/>
          <p:cNvSpPr txBox="1">
            <a:spLocks/>
          </p:cNvSpPr>
          <p:nvPr/>
        </p:nvSpPr>
        <p:spPr>
          <a:xfrm>
            <a:off x="6457951" y="6392834"/>
            <a:ext cx="1851848" cy="328646"/>
          </a:xfrm>
          <a:prstGeom prst="rect">
            <a:avLst/>
          </a:prstGeom>
        </p:spPr>
        <p:txBody>
          <a:bodyPr/>
          <a:lstStyle>
            <a:defPPr>
              <a:defRPr lang="pl-P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1903DCD-27CB-4E68-94D6-0EB6FA1FC2E1}" type="slidenum">
              <a:rPr lang="pl-PL" smtClean="0">
                <a:solidFill>
                  <a:schemeClr val="bg1"/>
                </a:solidFill>
              </a:rPr>
              <a:pPr/>
              <a:t>3</a:t>
            </a:fld>
            <a:endParaRPr lang="pl-PL" dirty="0">
              <a:solidFill>
                <a:schemeClr val="bg1"/>
              </a:solidFill>
            </a:endParaRPr>
          </a:p>
        </p:txBody>
      </p:sp>
      <p:pic>
        <p:nvPicPr>
          <p:cNvPr id="29" name="Obraz 28">
            <a:extLst>
              <a:ext uri="{FF2B5EF4-FFF2-40B4-BE49-F238E27FC236}">
                <a16:creationId xmlns:a16="http://schemas.microsoft.com/office/drawing/2014/main" id="{9E6D2463-54C1-4B78-9080-1DF3F07AADA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6325" y="52990"/>
            <a:ext cx="521892" cy="615547"/>
          </a:xfrm>
          <a:prstGeom prst="rect">
            <a:avLst/>
          </a:prstGeom>
        </p:spPr>
      </p:pic>
      <p:sp>
        <p:nvSpPr>
          <p:cNvPr id="6" name="Prostokąt 5">
            <a:extLst>
              <a:ext uri="{FF2B5EF4-FFF2-40B4-BE49-F238E27FC236}">
                <a16:creationId xmlns:a16="http://schemas.microsoft.com/office/drawing/2014/main" id="{F3BA8023-1D98-4B63-9A7C-940303949824}"/>
              </a:ext>
            </a:extLst>
          </p:cNvPr>
          <p:cNvSpPr/>
          <p:nvPr/>
        </p:nvSpPr>
        <p:spPr>
          <a:xfrm>
            <a:off x="3275856" y="926764"/>
            <a:ext cx="3960440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l-PL" sz="20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„</a:t>
            </a:r>
            <a:r>
              <a:rPr lang="en-US" sz="20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dustrial Transformation 2050 </a:t>
            </a:r>
            <a:r>
              <a:rPr lang="pl-PL" sz="20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”</a:t>
            </a:r>
          </a:p>
          <a:p>
            <a:pPr algn="ctr"/>
            <a:endParaRPr lang="pl-PL" sz="2000" b="1" i="1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en-US" i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University of Cambridge Institute for Sustainability Leadership (CISL)</a:t>
            </a:r>
            <a:r>
              <a:rPr lang="pl-PL" i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Report</a:t>
            </a:r>
            <a:endParaRPr lang="pl-PL" i="1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0962" name="Picture 2" descr="https://europeanclimate.org/wp-content/uploads/2018/09/Logo-purple-160x160.png">
            <a:extLst>
              <a:ext uri="{FF2B5EF4-FFF2-40B4-BE49-F238E27FC236}">
                <a16:creationId xmlns:a16="http://schemas.microsoft.com/office/drawing/2014/main" id="{B69684F8-8A54-42DB-A20C-9C212651D4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072" y="926324"/>
            <a:ext cx="1141370" cy="1141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ole tekstowe 8">
            <a:extLst>
              <a:ext uri="{FF2B5EF4-FFF2-40B4-BE49-F238E27FC236}">
                <a16:creationId xmlns:a16="http://schemas.microsoft.com/office/drawing/2014/main" id="{D7975CA3-C0A8-4CF9-88FC-9835993EC317}"/>
              </a:ext>
            </a:extLst>
          </p:cNvPr>
          <p:cNvSpPr txBox="1"/>
          <p:nvPr/>
        </p:nvSpPr>
        <p:spPr>
          <a:xfrm>
            <a:off x="8777845" y="4866501"/>
            <a:ext cx="3661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2" name="Ramka 1">
            <a:extLst>
              <a:ext uri="{FF2B5EF4-FFF2-40B4-BE49-F238E27FC236}">
                <a16:creationId xmlns:a16="http://schemas.microsoft.com/office/drawing/2014/main" id="{6838F00A-ACDA-4113-B49D-6EB7F375A5D9}"/>
              </a:ext>
            </a:extLst>
          </p:cNvPr>
          <p:cNvSpPr/>
          <p:nvPr/>
        </p:nvSpPr>
        <p:spPr>
          <a:xfrm>
            <a:off x="859125" y="2499742"/>
            <a:ext cx="7745323" cy="1872208"/>
          </a:xfrm>
          <a:prstGeom prst="frame">
            <a:avLst/>
          </a:prstGeom>
          <a:noFill/>
          <a:ln>
            <a:solidFill>
              <a:srgbClr val="B40E0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Net-z</a:t>
            </a:r>
            <a:r>
              <a:rPr lang="en-US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ero</a:t>
            </a:r>
            <a:r>
              <a:rPr lang="pl-P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AU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emission</a:t>
            </a:r>
            <a:r>
              <a:rPr lang="pl-P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activities of </a:t>
            </a:r>
            <a:r>
              <a:rPr lang="pl-P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he EU </a:t>
            </a: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industry need new</a:t>
            </a:r>
            <a:r>
              <a:rPr lang="pl-P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roduction processes and </a:t>
            </a:r>
            <a:r>
              <a:rPr lang="en-AU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increase</a:t>
            </a:r>
            <a:r>
              <a:rPr lang="pl-P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d</a:t>
            </a:r>
            <a:r>
              <a:rPr lang="en-AU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investments, even </a:t>
            </a:r>
            <a:r>
              <a:rPr lang="en-US" sz="2400" b="1" dirty="0">
                <a:solidFill>
                  <a:srgbClr val="C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40-50 bl</a:t>
            </a:r>
            <a:r>
              <a:rPr lang="pl-PL" sz="2400" b="1" dirty="0">
                <a:solidFill>
                  <a:srgbClr val="C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n</a:t>
            </a:r>
            <a:r>
              <a:rPr lang="en-US" sz="2400" b="1" dirty="0">
                <a:solidFill>
                  <a:srgbClr val="C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EUR</a:t>
            </a:r>
            <a:r>
              <a:rPr lang="en-US" b="1" dirty="0">
                <a:solidFill>
                  <a:srgbClr val="C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annual</a:t>
            </a:r>
            <a:r>
              <a:rPr lang="pl-PL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</a:t>
            </a: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y</a:t>
            </a:r>
          </a:p>
        </p:txBody>
      </p:sp>
    </p:spTree>
    <p:extLst>
      <p:ext uri="{BB962C8B-B14F-4D97-AF65-F5344CB8AC3E}">
        <p14:creationId xmlns:p14="http://schemas.microsoft.com/office/powerpoint/2010/main" val="1119754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09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2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Łącznik prosty 4"/>
          <p:cNvCxnSpPr/>
          <p:nvPr/>
        </p:nvCxnSpPr>
        <p:spPr>
          <a:xfrm>
            <a:off x="859126" y="1"/>
            <a:ext cx="0" cy="52279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ole tekstowe 9"/>
          <p:cNvSpPr txBox="1"/>
          <p:nvPr/>
        </p:nvSpPr>
        <p:spPr>
          <a:xfrm>
            <a:off x="827584" y="274562"/>
            <a:ext cx="7301590" cy="397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2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Valuation of the costs of replacing jobs in </a:t>
            </a:r>
            <a:r>
              <a:rPr lang="pl-PL" sz="2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he </a:t>
            </a:r>
            <a:r>
              <a:rPr lang="en-US" sz="2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ining</a:t>
            </a:r>
            <a:r>
              <a:rPr lang="pl-PL" sz="2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pl-PL" sz="2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ector</a:t>
            </a:r>
            <a:endParaRPr lang="pl-PL" sz="2200" b="1" i="1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5" name="Symbol zastępczy numeru slajdu 2"/>
          <p:cNvSpPr txBox="1">
            <a:spLocks/>
          </p:cNvSpPr>
          <p:nvPr/>
        </p:nvSpPr>
        <p:spPr>
          <a:xfrm>
            <a:off x="6457951" y="6392834"/>
            <a:ext cx="1851848" cy="328646"/>
          </a:xfrm>
          <a:prstGeom prst="rect">
            <a:avLst/>
          </a:prstGeom>
        </p:spPr>
        <p:txBody>
          <a:bodyPr/>
          <a:lstStyle>
            <a:defPPr>
              <a:defRPr lang="pl-P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1903DCD-27CB-4E68-94D6-0EB6FA1FC2E1}" type="slidenum">
              <a:rPr lang="pl-PL" smtClean="0">
                <a:solidFill>
                  <a:schemeClr val="bg1"/>
                </a:solidFill>
              </a:rPr>
              <a:pPr/>
              <a:t>4</a:t>
            </a:fld>
            <a:endParaRPr lang="pl-PL" dirty="0">
              <a:solidFill>
                <a:schemeClr val="bg1"/>
              </a:solidFill>
            </a:endParaRPr>
          </a:p>
        </p:txBody>
      </p:sp>
      <p:pic>
        <p:nvPicPr>
          <p:cNvPr id="29" name="Obraz 28">
            <a:extLst>
              <a:ext uri="{FF2B5EF4-FFF2-40B4-BE49-F238E27FC236}">
                <a16:creationId xmlns:a16="http://schemas.microsoft.com/office/drawing/2014/main" id="{9E6D2463-54C1-4B78-9080-1DF3F07AADA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6325" y="52990"/>
            <a:ext cx="521892" cy="615547"/>
          </a:xfrm>
          <a:prstGeom prst="rect">
            <a:avLst/>
          </a:prstGeom>
        </p:spPr>
      </p:pic>
      <p:sp>
        <p:nvSpPr>
          <p:cNvPr id="6" name="Prostokąt 5">
            <a:extLst>
              <a:ext uri="{FF2B5EF4-FFF2-40B4-BE49-F238E27FC236}">
                <a16:creationId xmlns:a16="http://schemas.microsoft.com/office/drawing/2014/main" id="{F3BA8023-1D98-4B63-9A7C-940303949824}"/>
              </a:ext>
            </a:extLst>
          </p:cNvPr>
          <p:cNvSpPr/>
          <p:nvPr/>
        </p:nvSpPr>
        <p:spPr>
          <a:xfrm>
            <a:off x="4265966" y="1410911"/>
            <a:ext cx="321715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i="1" dirty="0">
                <a:latin typeface="Calibri" panose="020F0502020204030204" pitchFamily="34" charset="0"/>
                <a:cs typeface="Calibri" panose="020F0502020204030204" pitchFamily="34" charset="0"/>
              </a:rPr>
              <a:t>Expertise of the University of Economics</a:t>
            </a:r>
            <a:r>
              <a:rPr lang="pl-PL" sz="1600" i="1" dirty="0">
                <a:latin typeface="Calibri" panose="020F0502020204030204" pitchFamily="34" charset="0"/>
                <a:cs typeface="Calibri" panose="020F0502020204030204" pitchFamily="34" charset="0"/>
              </a:rPr>
              <a:t> in Katowice</a:t>
            </a:r>
          </a:p>
        </p:txBody>
      </p:sp>
      <p:pic>
        <p:nvPicPr>
          <p:cNvPr id="9" name="Obraz 8">
            <a:extLst>
              <a:ext uri="{FF2B5EF4-FFF2-40B4-BE49-F238E27FC236}">
                <a16:creationId xmlns:a16="http://schemas.microsoft.com/office/drawing/2014/main" id="{BE9FF813-E3F5-4B5C-A287-B4495ADD4AF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042" y="1419622"/>
            <a:ext cx="1388726" cy="559202"/>
          </a:xfrm>
          <a:prstGeom prst="rect">
            <a:avLst/>
          </a:prstGeom>
        </p:spPr>
      </p:pic>
      <p:pic>
        <p:nvPicPr>
          <p:cNvPr id="11" name="Obraz 10">
            <a:extLst>
              <a:ext uri="{FF2B5EF4-FFF2-40B4-BE49-F238E27FC236}">
                <a16:creationId xmlns:a16="http://schemas.microsoft.com/office/drawing/2014/main" id="{710A3201-D24D-4BD2-A5B0-EDBAFB93607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5776" y="1347614"/>
            <a:ext cx="1321176" cy="648072"/>
          </a:xfrm>
          <a:prstGeom prst="rect">
            <a:avLst/>
          </a:prstGeom>
        </p:spPr>
      </p:pic>
      <p:sp>
        <p:nvSpPr>
          <p:cNvPr id="12" name="pole tekstowe 11">
            <a:extLst>
              <a:ext uri="{FF2B5EF4-FFF2-40B4-BE49-F238E27FC236}">
                <a16:creationId xmlns:a16="http://schemas.microsoft.com/office/drawing/2014/main" id="{02D236FE-D76D-49E0-A4F0-0EDD8ABB2CFB}"/>
              </a:ext>
            </a:extLst>
          </p:cNvPr>
          <p:cNvSpPr txBox="1"/>
          <p:nvPr/>
        </p:nvSpPr>
        <p:spPr>
          <a:xfrm>
            <a:off x="8777845" y="4866501"/>
            <a:ext cx="3661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13" name="Prostokąt 12">
            <a:extLst>
              <a:ext uri="{FF2B5EF4-FFF2-40B4-BE49-F238E27FC236}">
                <a16:creationId xmlns:a16="http://schemas.microsoft.com/office/drawing/2014/main" id="{8E0D8C35-6000-44A3-9FF7-5BBD91CA4F34}"/>
              </a:ext>
            </a:extLst>
          </p:cNvPr>
          <p:cNvSpPr/>
          <p:nvPr/>
        </p:nvSpPr>
        <p:spPr>
          <a:xfrm>
            <a:off x="1835696" y="2441202"/>
            <a:ext cx="4860540" cy="14987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  <a:buClr>
                <a:srgbClr val="C00000"/>
              </a:buClr>
              <a:buSzPct val="120000"/>
            </a:pPr>
            <a:r>
              <a:rPr lang="pl-PL" sz="2800" b="1" dirty="0">
                <a:solidFill>
                  <a:srgbClr val="FF0000"/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44</a:t>
            </a:r>
            <a:r>
              <a:rPr lang="en-GB" sz="2800" b="1" dirty="0">
                <a:solidFill>
                  <a:srgbClr val="FF0000"/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pl-PL" sz="2800" b="1" dirty="0">
                <a:solidFill>
                  <a:srgbClr val="FF0000"/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bln</a:t>
            </a:r>
            <a:r>
              <a:rPr lang="en-GB" sz="2800" b="1" dirty="0">
                <a:solidFill>
                  <a:srgbClr val="FF0000"/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 EUR </a:t>
            </a:r>
            <a:endParaRPr lang="pl-PL" sz="2800" b="1" dirty="0">
              <a:solidFill>
                <a:srgbClr val="FF0000"/>
              </a:solidFill>
              <a:latin typeface="Calibri" panose="020F0502020204030204" pitchFamily="34" charset="0"/>
              <a:ea typeface="Tahoma" pitchFamily="34" charset="0"/>
              <a:cs typeface="Tahoma" pitchFamily="34" charset="0"/>
            </a:endParaRPr>
          </a:p>
          <a:p>
            <a:pPr algn="ctr">
              <a:spcAft>
                <a:spcPts val="600"/>
              </a:spcAft>
              <a:buClr>
                <a:srgbClr val="C00000"/>
              </a:buClr>
              <a:buSzPct val="120000"/>
            </a:pPr>
            <a:r>
              <a:rPr lang="pl-PL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The </a:t>
            </a:r>
            <a:r>
              <a:rPr lang="pl-PL" b="1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cost</a:t>
            </a:r>
            <a:r>
              <a:rPr lang="pl-PL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 of </a:t>
            </a:r>
            <a:r>
              <a:rPr lang="en-AU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replacing</a:t>
            </a:r>
            <a:r>
              <a:rPr lang="pl-PL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jobs of PGG employees </a:t>
            </a:r>
            <a:endParaRPr lang="pl-PL" b="1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ea typeface="Tahoma" pitchFamily="34" charset="0"/>
              <a:cs typeface="Tahoma" pitchFamily="34" charset="0"/>
            </a:endParaRPr>
          </a:p>
          <a:p>
            <a:pPr algn="ctr">
              <a:spcAft>
                <a:spcPts val="600"/>
              </a:spcAft>
              <a:buClr>
                <a:srgbClr val="C00000"/>
              </a:buClr>
              <a:buSzPct val="120000"/>
            </a:pPr>
            <a:r>
              <a:rPr lang="en-US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and sector</a:t>
            </a:r>
            <a:r>
              <a:rPr lang="pl-PL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s</a:t>
            </a:r>
            <a:r>
              <a:rPr lang="en-US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 around mining </a:t>
            </a:r>
            <a:r>
              <a:rPr lang="pl-PL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 </a:t>
            </a:r>
            <a:endParaRPr lang="en-GB" b="1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2992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3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Łącznik prosty 4"/>
          <p:cNvCxnSpPr/>
          <p:nvPr/>
        </p:nvCxnSpPr>
        <p:spPr>
          <a:xfrm>
            <a:off x="859126" y="1"/>
            <a:ext cx="0" cy="52279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ole tekstowe 9"/>
          <p:cNvSpPr txBox="1"/>
          <p:nvPr/>
        </p:nvSpPr>
        <p:spPr>
          <a:xfrm>
            <a:off x="827583" y="274562"/>
            <a:ext cx="7482211" cy="397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pl-PL" sz="2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oal</a:t>
            </a:r>
            <a:r>
              <a:rPr lang="pl-PL" sz="2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Regions in </a:t>
            </a:r>
            <a:r>
              <a:rPr lang="pl-PL" sz="2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ransition</a:t>
            </a:r>
            <a:r>
              <a:rPr lang="pl-PL" sz="2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Platform </a:t>
            </a:r>
          </a:p>
        </p:txBody>
      </p:sp>
      <p:sp>
        <p:nvSpPr>
          <p:cNvPr id="15" name="Symbol zastępczy numeru slajdu 2"/>
          <p:cNvSpPr txBox="1">
            <a:spLocks/>
          </p:cNvSpPr>
          <p:nvPr/>
        </p:nvSpPr>
        <p:spPr>
          <a:xfrm>
            <a:off x="6457951" y="6392834"/>
            <a:ext cx="1851848" cy="328646"/>
          </a:xfrm>
          <a:prstGeom prst="rect">
            <a:avLst/>
          </a:prstGeom>
        </p:spPr>
        <p:txBody>
          <a:bodyPr/>
          <a:lstStyle>
            <a:defPPr>
              <a:defRPr lang="pl-P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1903DCD-27CB-4E68-94D6-0EB6FA1FC2E1}" type="slidenum">
              <a:rPr lang="pl-PL" smtClean="0">
                <a:solidFill>
                  <a:schemeClr val="bg1"/>
                </a:solidFill>
              </a:rPr>
              <a:pPr/>
              <a:t>5</a:t>
            </a:fld>
            <a:endParaRPr lang="pl-PL" dirty="0">
              <a:solidFill>
                <a:schemeClr val="bg1"/>
              </a:solidFill>
            </a:endParaRPr>
          </a:p>
        </p:txBody>
      </p:sp>
      <p:pic>
        <p:nvPicPr>
          <p:cNvPr id="23" name="Obraz 22">
            <a:extLst>
              <a:ext uri="{FF2B5EF4-FFF2-40B4-BE49-F238E27FC236}">
                <a16:creationId xmlns:a16="http://schemas.microsoft.com/office/drawing/2014/main" id="{84F30C80-85B6-4E97-A123-C9A7ADDAC00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6325" y="52990"/>
            <a:ext cx="521892" cy="615547"/>
          </a:xfrm>
          <a:prstGeom prst="rect">
            <a:avLst/>
          </a:prstGeom>
        </p:spPr>
      </p:pic>
      <p:sp>
        <p:nvSpPr>
          <p:cNvPr id="21" name="pole tekstowe 20">
            <a:extLst>
              <a:ext uri="{FF2B5EF4-FFF2-40B4-BE49-F238E27FC236}">
                <a16:creationId xmlns:a16="http://schemas.microsoft.com/office/drawing/2014/main" id="{E84B93B0-1966-4986-98FB-B9A200B52925}"/>
              </a:ext>
            </a:extLst>
          </p:cNvPr>
          <p:cNvSpPr txBox="1"/>
          <p:nvPr/>
        </p:nvSpPr>
        <p:spPr>
          <a:xfrm>
            <a:off x="8777845" y="4866501"/>
            <a:ext cx="3661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>
                <a:latin typeface="Calibri" panose="020F0502020204030204" pitchFamily="34" charset="0"/>
                <a:cs typeface="Calibri" panose="020F0502020204030204" pitchFamily="34" charset="0"/>
              </a:rPr>
              <a:t>5</a:t>
            </a:r>
          </a:p>
        </p:txBody>
      </p:sp>
      <p:pic>
        <p:nvPicPr>
          <p:cNvPr id="24" name="Obraz 23">
            <a:extLst>
              <a:ext uri="{FF2B5EF4-FFF2-40B4-BE49-F238E27FC236}">
                <a16:creationId xmlns:a16="http://schemas.microsoft.com/office/drawing/2014/main" id="{03C74E26-B048-416A-9B63-243C17D330D5}"/>
              </a:ext>
            </a:extLst>
          </p:cNvPr>
          <p:cNvPicPr/>
          <p:nvPr/>
        </p:nvPicPr>
        <p:blipFill rotWithShape="1">
          <a:blip r:embed="rId4"/>
          <a:srcRect l="8917" t="8915" r="58408" b="8848"/>
          <a:stretch/>
        </p:blipFill>
        <p:spPr bwMode="auto">
          <a:xfrm>
            <a:off x="859126" y="1275606"/>
            <a:ext cx="3882256" cy="2748713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5" name="Prostokąt 24">
            <a:extLst>
              <a:ext uri="{FF2B5EF4-FFF2-40B4-BE49-F238E27FC236}">
                <a16:creationId xmlns:a16="http://schemas.microsoft.com/office/drawing/2014/main" id="{8705A44F-598E-4D2C-ABB1-7B9D0E1DF0E6}"/>
              </a:ext>
            </a:extLst>
          </p:cNvPr>
          <p:cNvSpPr/>
          <p:nvPr/>
        </p:nvSpPr>
        <p:spPr>
          <a:xfrm>
            <a:off x="4981787" y="1900612"/>
            <a:ext cx="2952328" cy="14987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  <a:buClr>
                <a:srgbClr val="C00000"/>
              </a:buClr>
              <a:buSzPct val="120000"/>
            </a:pPr>
            <a:r>
              <a:rPr lang="pl-PL" sz="2800" b="1" dirty="0">
                <a:solidFill>
                  <a:srgbClr val="FF0000"/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EUR </a:t>
            </a:r>
            <a:r>
              <a:rPr lang="en-GB" sz="2800" b="1" dirty="0">
                <a:solidFill>
                  <a:srgbClr val="FF0000"/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4</a:t>
            </a:r>
            <a:r>
              <a:rPr lang="pl-PL" sz="2800" b="1" dirty="0">
                <a:solidFill>
                  <a:srgbClr val="FF0000"/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.</a:t>
            </a:r>
            <a:r>
              <a:rPr lang="en-GB" sz="2800" b="1" dirty="0">
                <a:solidFill>
                  <a:srgbClr val="FF0000"/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8 </a:t>
            </a:r>
            <a:r>
              <a:rPr lang="pl-PL" sz="2800" b="1" dirty="0">
                <a:solidFill>
                  <a:srgbClr val="FF0000"/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bln</a:t>
            </a:r>
          </a:p>
          <a:p>
            <a:pPr algn="ctr">
              <a:spcAft>
                <a:spcPts val="600"/>
              </a:spcAft>
              <a:buClr>
                <a:srgbClr val="C00000"/>
              </a:buClr>
              <a:buSzPct val="120000"/>
            </a:pPr>
            <a:r>
              <a:rPr lang="en-GB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proposed f</a:t>
            </a:r>
            <a:r>
              <a:rPr lang="pl-PL" b="1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or</a:t>
            </a:r>
            <a:r>
              <a:rPr lang="pl-PL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 the Just </a:t>
            </a:r>
            <a:r>
              <a:rPr lang="pl-PL" b="1" dirty="0" err="1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Transition</a:t>
            </a:r>
            <a:r>
              <a:rPr lang="pl-PL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 Fund </a:t>
            </a:r>
            <a:r>
              <a:rPr lang="en-GB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in </a:t>
            </a:r>
            <a:r>
              <a:rPr lang="pl-PL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the </a:t>
            </a:r>
            <a:r>
              <a:rPr lang="en-GB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7-yea</a:t>
            </a:r>
            <a:r>
              <a:rPr lang="pl-PL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r </a:t>
            </a:r>
            <a:r>
              <a:rPr lang="en-GB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perspective</a:t>
            </a:r>
            <a:r>
              <a:rPr lang="pl-PL" b="1" dirty="0">
                <a:solidFill>
                  <a:schemeClr val="bg2">
                    <a:lumMod val="25000"/>
                  </a:schemeClr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 2021-2027</a:t>
            </a:r>
            <a:endParaRPr lang="en-GB" b="1" dirty="0">
              <a:solidFill>
                <a:schemeClr val="bg2">
                  <a:lumMod val="25000"/>
                </a:schemeClr>
              </a:solidFill>
              <a:latin typeface="Calibri" panose="020F0502020204030204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769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6" presetClass="entr" presetSubtype="16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Łącznik prosty 4"/>
          <p:cNvCxnSpPr/>
          <p:nvPr/>
        </p:nvCxnSpPr>
        <p:spPr>
          <a:xfrm>
            <a:off x="859126" y="1"/>
            <a:ext cx="0" cy="52279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Obraz 7">
            <a:extLst>
              <a:ext uri="{FF2B5EF4-FFF2-40B4-BE49-F238E27FC236}">
                <a16:creationId xmlns:a16="http://schemas.microsoft.com/office/drawing/2014/main" id="{5DB2D0CF-4F23-4610-BA2C-93F41381360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6325" y="52990"/>
            <a:ext cx="521892" cy="615547"/>
          </a:xfrm>
          <a:prstGeom prst="rect">
            <a:avLst/>
          </a:prstGeom>
        </p:spPr>
      </p:pic>
      <p:sp>
        <p:nvSpPr>
          <p:cNvPr id="6" name="pole tekstowe 5">
            <a:extLst>
              <a:ext uri="{FF2B5EF4-FFF2-40B4-BE49-F238E27FC236}">
                <a16:creationId xmlns:a16="http://schemas.microsoft.com/office/drawing/2014/main" id="{5EA0DA38-6C9C-4CD3-8970-537D3432255B}"/>
              </a:ext>
            </a:extLst>
          </p:cNvPr>
          <p:cNvSpPr txBox="1"/>
          <p:nvPr/>
        </p:nvSpPr>
        <p:spPr>
          <a:xfrm>
            <a:off x="8777845" y="4866501"/>
            <a:ext cx="3661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>
                <a:latin typeface="Calibri" panose="020F0502020204030204" pitchFamily="34" charset="0"/>
                <a:cs typeface="Calibri" panose="020F0502020204030204" pitchFamily="34" charset="0"/>
              </a:rPr>
              <a:t>6</a:t>
            </a:r>
          </a:p>
        </p:txBody>
      </p:sp>
      <p:sp>
        <p:nvSpPr>
          <p:cNvPr id="7" name="pole tekstowe 6">
            <a:extLst>
              <a:ext uri="{FF2B5EF4-FFF2-40B4-BE49-F238E27FC236}">
                <a16:creationId xmlns:a16="http://schemas.microsoft.com/office/drawing/2014/main" id="{101FCF53-A4DC-4D2F-8803-568EF98A6AC6}"/>
              </a:ext>
            </a:extLst>
          </p:cNvPr>
          <p:cNvSpPr txBox="1"/>
          <p:nvPr/>
        </p:nvSpPr>
        <p:spPr>
          <a:xfrm>
            <a:off x="683568" y="1851670"/>
            <a:ext cx="7776864" cy="10895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AU" sz="3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What is most important </a:t>
            </a:r>
          </a:p>
          <a:p>
            <a:pPr algn="ctr">
              <a:lnSpc>
                <a:spcPct val="90000"/>
              </a:lnSpc>
            </a:pPr>
            <a:r>
              <a:rPr lang="en-AU" sz="3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in the transition process?</a:t>
            </a:r>
          </a:p>
        </p:txBody>
      </p:sp>
    </p:spTree>
    <p:extLst>
      <p:ext uri="{BB962C8B-B14F-4D97-AF65-F5344CB8AC3E}">
        <p14:creationId xmlns:p14="http://schemas.microsoft.com/office/powerpoint/2010/main" val="1747179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pole tekstowe 43">
            <a:extLst>
              <a:ext uri="{FF2B5EF4-FFF2-40B4-BE49-F238E27FC236}">
                <a16:creationId xmlns:a16="http://schemas.microsoft.com/office/drawing/2014/main" id="{94B0F764-0BCF-466C-805A-F90F54865893}"/>
              </a:ext>
            </a:extLst>
          </p:cNvPr>
          <p:cNvSpPr txBox="1"/>
          <p:nvPr/>
        </p:nvSpPr>
        <p:spPr>
          <a:xfrm>
            <a:off x="2240942" y="3538897"/>
            <a:ext cx="25221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NANCES, TAXES AND FEES</a:t>
            </a:r>
          </a:p>
        </p:txBody>
      </p:sp>
      <p:cxnSp>
        <p:nvCxnSpPr>
          <p:cNvPr id="5" name="Łącznik prosty 4"/>
          <p:cNvCxnSpPr/>
          <p:nvPr/>
        </p:nvCxnSpPr>
        <p:spPr>
          <a:xfrm>
            <a:off x="859126" y="1"/>
            <a:ext cx="0" cy="52279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ole tekstowe 9"/>
          <p:cNvSpPr txBox="1"/>
          <p:nvPr/>
        </p:nvSpPr>
        <p:spPr>
          <a:xfrm>
            <a:off x="827584" y="274562"/>
            <a:ext cx="7301590" cy="397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2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riangle </a:t>
            </a:r>
            <a:r>
              <a:rPr lang="pl-PL" sz="2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creating</a:t>
            </a:r>
            <a:r>
              <a:rPr lang="pl-PL" sz="2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sz="2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he coal sector value chain</a:t>
            </a:r>
            <a:endParaRPr lang="pl-PL" sz="2200" b="1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35" name="Łącznik prosty 34">
            <a:extLst>
              <a:ext uri="{FF2B5EF4-FFF2-40B4-BE49-F238E27FC236}">
                <a16:creationId xmlns:a16="http://schemas.microsoft.com/office/drawing/2014/main" id="{7039A2BF-76D5-4155-91F9-003B3DDFD3F7}"/>
              </a:ext>
            </a:extLst>
          </p:cNvPr>
          <p:cNvCxnSpPr>
            <a:cxnSpLocks/>
          </p:cNvCxnSpPr>
          <p:nvPr/>
        </p:nvCxnSpPr>
        <p:spPr>
          <a:xfrm>
            <a:off x="5296915" y="2284055"/>
            <a:ext cx="3307533" cy="0"/>
          </a:xfrm>
          <a:prstGeom prst="line">
            <a:avLst/>
          </a:prstGeom>
          <a:ln w="12700">
            <a:solidFill>
              <a:schemeClr val="accent5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Łącznik prosty 37">
            <a:extLst>
              <a:ext uri="{FF2B5EF4-FFF2-40B4-BE49-F238E27FC236}">
                <a16:creationId xmlns:a16="http://schemas.microsoft.com/office/drawing/2014/main" id="{74CDE9C6-20D8-4BFA-9D94-01BDAD4B5A4F}"/>
              </a:ext>
            </a:extLst>
          </p:cNvPr>
          <p:cNvCxnSpPr>
            <a:cxnSpLocks/>
          </p:cNvCxnSpPr>
          <p:nvPr/>
        </p:nvCxnSpPr>
        <p:spPr>
          <a:xfrm>
            <a:off x="2346829" y="3844150"/>
            <a:ext cx="3358448" cy="1"/>
          </a:xfrm>
          <a:prstGeom prst="line">
            <a:avLst/>
          </a:prstGeom>
          <a:ln w="12700">
            <a:solidFill>
              <a:srgbClr val="C5783F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Łącznik prosty 39">
            <a:extLst>
              <a:ext uri="{FF2B5EF4-FFF2-40B4-BE49-F238E27FC236}">
                <a16:creationId xmlns:a16="http://schemas.microsoft.com/office/drawing/2014/main" id="{8EF9D716-EED2-4350-86BA-E2C0B928DCD7}"/>
              </a:ext>
            </a:extLst>
          </p:cNvPr>
          <p:cNvCxnSpPr>
            <a:cxnSpLocks/>
          </p:cNvCxnSpPr>
          <p:nvPr/>
        </p:nvCxnSpPr>
        <p:spPr>
          <a:xfrm>
            <a:off x="859126" y="1777652"/>
            <a:ext cx="3006949" cy="16026"/>
          </a:xfrm>
          <a:prstGeom prst="line">
            <a:avLst/>
          </a:prstGeom>
          <a:ln w="12700">
            <a:solidFill>
              <a:srgbClr val="0070C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pole tekstowe 35">
            <a:extLst>
              <a:ext uri="{FF2B5EF4-FFF2-40B4-BE49-F238E27FC236}">
                <a16:creationId xmlns:a16="http://schemas.microsoft.com/office/drawing/2014/main" id="{C6A28779-857F-4568-AFBB-9B51D9BFAE4B}"/>
              </a:ext>
            </a:extLst>
          </p:cNvPr>
          <p:cNvSpPr txBox="1"/>
          <p:nvPr/>
        </p:nvSpPr>
        <p:spPr>
          <a:xfrm>
            <a:off x="773414" y="1491403"/>
            <a:ext cx="30384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NOWLEDGE AND TECHNOLOGY</a:t>
            </a:r>
          </a:p>
        </p:txBody>
      </p:sp>
      <p:sp>
        <p:nvSpPr>
          <p:cNvPr id="43" name="pole tekstowe 42">
            <a:extLst>
              <a:ext uri="{FF2B5EF4-FFF2-40B4-BE49-F238E27FC236}">
                <a16:creationId xmlns:a16="http://schemas.microsoft.com/office/drawing/2014/main" id="{A0DD6F7A-0BB6-4A27-BC4A-A7DE429F4873}"/>
              </a:ext>
            </a:extLst>
          </p:cNvPr>
          <p:cNvSpPr txBox="1"/>
          <p:nvPr/>
        </p:nvSpPr>
        <p:spPr>
          <a:xfrm>
            <a:off x="5501651" y="1975504"/>
            <a:ext cx="162884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UMAN CAPITAL</a:t>
            </a:r>
          </a:p>
        </p:txBody>
      </p:sp>
      <p:sp>
        <p:nvSpPr>
          <p:cNvPr id="65" name="Strzałka: zakrzywiona w dół 64">
            <a:extLst>
              <a:ext uri="{FF2B5EF4-FFF2-40B4-BE49-F238E27FC236}">
                <a16:creationId xmlns:a16="http://schemas.microsoft.com/office/drawing/2014/main" id="{81599D2B-E555-4DFB-B41F-28825345E12D}"/>
              </a:ext>
            </a:extLst>
          </p:cNvPr>
          <p:cNvSpPr/>
          <p:nvPr/>
        </p:nvSpPr>
        <p:spPr>
          <a:xfrm rot="18545388">
            <a:off x="3821302" y="2237320"/>
            <a:ext cx="733883" cy="359955"/>
          </a:xfrm>
          <a:prstGeom prst="curvedDownArrow">
            <a:avLst/>
          </a:prstGeom>
          <a:noFill/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600" dirty="0">
              <a:solidFill>
                <a:srgbClr val="540E0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66" name="Strzałka: zakrzywiona w lewo 65">
            <a:extLst>
              <a:ext uri="{FF2B5EF4-FFF2-40B4-BE49-F238E27FC236}">
                <a16:creationId xmlns:a16="http://schemas.microsoft.com/office/drawing/2014/main" id="{95A84DE5-E5FA-41D7-B531-50052EFEF7BD}"/>
              </a:ext>
            </a:extLst>
          </p:cNvPr>
          <p:cNvSpPr/>
          <p:nvPr/>
        </p:nvSpPr>
        <p:spPr>
          <a:xfrm rot="2153528">
            <a:off x="4323900" y="2353507"/>
            <a:ext cx="370488" cy="728390"/>
          </a:xfrm>
          <a:prstGeom prst="curvedLeftArrow">
            <a:avLst/>
          </a:prstGeom>
          <a:noFill/>
          <a:ln w="63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600" dirty="0">
              <a:solidFill>
                <a:srgbClr val="540E0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3" name="Łącznik prosty ze strzałką 2">
            <a:extLst>
              <a:ext uri="{FF2B5EF4-FFF2-40B4-BE49-F238E27FC236}">
                <a16:creationId xmlns:a16="http://schemas.microsoft.com/office/drawing/2014/main" id="{296D7283-A1B2-48B2-90AA-F217937F437C}"/>
              </a:ext>
            </a:extLst>
          </p:cNvPr>
          <p:cNvCxnSpPr>
            <a:cxnSpLocks/>
          </p:cNvCxnSpPr>
          <p:nvPr/>
        </p:nvCxnSpPr>
        <p:spPr>
          <a:xfrm>
            <a:off x="4340309" y="1278544"/>
            <a:ext cx="419926" cy="696960"/>
          </a:xfrm>
          <a:prstGeom prst="straightConnector1">
            <a:avLst/>
          </a:prstGeom>
          <a:ln w="82550">
            <a:solidFill>
              <a:srgbClr val="0070C0"/>
            </a:solidFill>
            <a:headEnd w="med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Łącznik prosty ze strzałką 24">
            <a:extLst>
              <a:ext uri="{FF2B5EF4-FFF2-40B4-BE49-F238E27FC236}">
                <a16:creationId xmlns:a16="http://schemas.microsoft.com/office/drawing/2014/main" id="{15F0B44E-8F81-4032-B5CE-F24F83A9C5CF}"/>
              </a:ext>
            </a:extLst>
          </p:cNvPr>
          <p:cNvCxnSpPr>
            <a:cxnSpLocks/>
          </p:cNvCxnSpPr>
          <p:nvPr/>
        </p:nvCxnSpPr>
        <p:spPr>
          <a:xfrm flipV="1">
            <a:off x="3035300" y="2643759"/>
            <a:ext cx="456580" cy="727253"/>
          </a:xfrm>
          <a:prstGeom prst="straightConnector1">
            <a:avLst/>
          </a:prstGeom>
          <a:ln w="82550">
            <a:solidFill>
              <a:srgbClr val="C5783F"/>
            </a:solidFill>
            <a:headEnd w="med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Łącznik prosty ze strzałką 26">
            <a:extLst>
              <a:ext uri="{FF2B5EF4-FFF2-40B4-BE49-F238E27FC236}">
                <a16:creationId xmlns:a16="http://schemas.microsoft.com/office/drawing/2014/main" id="{E301C8BD-79EA-4019-958E-FB04A6F26BD3}"/>
              </a:ext>
            </a:extLst>
          </p:cNvPr>
          <p:cNvCxnSpPr>
            <a:cxnSpLocks/>
          </p:cNvCxnSpPr>
          <p:nvPr/>
        </p:nvCxnSpPr>
        <p:spPr>
          <a:xfrm flipH="1">
            <a:off x="4810125" y="3377722"/>
            <a:ext cx="895153" cy="0"/>
          </a:xfrm>
          <a:prstGeom prst="straightConnector1">
            <a:avLst/>
          </a:prstGeom>
          <a:ln w="82550">
            <a:solidFill>
              <a:schemeClr val="accent5">
                <a:lumMod val="60000"/>
                <a:lumOff val="40000"/>
              </a:schemeClr>
            </a:solidFill>
            <a:headEnd w="med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Łącznik prostoliniowy 19"/>
          <p:cNvCxnSpPr/>
          <p:nvPr/>
        </p:nvCxnSpPr>
        <p:spPr>
          <a:xfrm flipH="1">
            <a:off x="3502025" y="1278544"/>
            <a:ext cx="838285" cy="1351792"/>
          </a:xfrm>
          <a:prstGeom prst="line">
            <a:avLst/>
          </a:prstGeom>
          <a:ln w="82550">
            <a:solidFill>
              <a:srgbClr val="0070C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Łącznik prostoliniowy 44"/>
          <p:cNvCxnSpPr/>
          <p:nvPr/>
        </p:nvCxnSpPr>
        <p:spPr>
          <a:xfrm flipH="1">
            <a:off x="3035300" y="3377722"/>
            <a:ext cx="1752724" cy="0"/>
          </a:xfrm>
          <a:prstGeom prst="line">
            <a:avLst/>
          </a:prstGeom>
          <a:ln w="82550">
            <a:solidFill>
              <a:srgbClr val="C5783F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Łącznik prostoliniowy 48"/>
          <p:cNvCxnSpPr>
            <a:cxnSpLocks/>
          </p:cNvCxnSpPr>
          <p:nvPr/>
        </p:nvCxnSpPr>
        <p:spPr>
          <a:xfrm>
            <a:off x="4773274" y="1975504"/>
            <a:ext cx="932003" cy="1402218"/>
          </a:xfrm>
          <a:prstGeom prst="line">
            <a:avLst/>
          </a:prstGeom>
          <a:ln w="82550">
            <a:solidFill>
              <a:srgbClr val="F58F8F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8" name="Obraz 27">
            <a:extLst>
              <a:ext uri="{FF2B5EF4-FFF2-40B4-BE49-F238E27FC236}">
                <a16:creationId xmlns:a16="http://schemas.microsoft.com/office/drawing/2014/main" id="{409977AE-1212-4155-BAE8-EB1EC15D70D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6325" y="52990"/>
            <a:ext cx="521892" cy="615547"/>
          </a:xfrm>
          <a:prstGeom prst="rect">
            <a:avLst/>
          </a:prstGeom>
        </p:spPr>
      </p:pic>
      <p:sp>
        <p:nvSpPr>
          <p:cNvPr id="23" name="pole tekstowe 22">
            <a:extLst>
              <a:ext uri="{FF2B5EF4-FFF2-40B4-BE49-F238E27FC236}">
                <a16:creationId xmlns:a16="http://schemas.microsoft.com/office/drawing/2014/main" id="{1D7FBF4F-B92B-4D39-BEB6-6F8BAD15EA42}"/>
              </a:ext>
            </a:extLst>
          </p:cNvPr>
          <p:cNvSpPr txBox="1"/>
          <p:nvPr/>
        </p:nvSpPr>
        <p:spPr>
          <a:xfrm>
            <a:off x="8777845" y="4866501"/>
            <a:ext cx="3661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>
                <a:latin typeface="Calibri" panose="020F0502020204030204" pitchFamily="34" charset="0"/>
                <a:cs typeface="Calibri" panose="020F0502020204030204" pitchFamily="34" charset="0"/>
              </a:rPr>
              <a:t>7</a:t>
            </a:r>
          </a:p>
        </p:txBody>
      </p:sp>
      <p:sp>
        <p:nvSpPr>
          <p:cNvPr id="30" name="Prostokąt 29">
            <a:extLst>
              <a:ext uri="{FF2B5EF4-FFF2-40B4-BE49-F238E27FC236}">
                <a16:creationId xmlns:a16="http://schemas.microsoft.com/office/drawing/2014/main" id="{1C6798A4-FA6B-4223-BBB8-358210D86B88}"/>
              </a:ext>
            </a:extLst>
          </p:cNvPr>
          <p:cNvSpPr/>
          <p:nvPr/>
        </p:nvSpPr>
        <p:spPr>
          <a:xfrm>
            <a:off x="859125" y="1908879"/>
            <a:ext cx="2423903" cy="56329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  <a:buClr>
                <a:srgbClr val="C00000"/>
              </a:buClr>
              <a:buSzPct val="120000"/>
            </a:pPr>
            <a:r>
              <a:rPr lang="pl-PL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PGG:</a:t>
            </a:r>
          </a:p>
          <a:p>
            <a:pPr>
              <a:spcAft>
                <a:spcPts val="600"/>
              </a:spcAft>
              <a:buClr>
                <a:srgbClr val="C00000"/>
              </a:buClr>
              <a:buSzPct val="120000"/>
            </a:pPr>
            <a:r>
              <a:rPr lang="pl-PL" sz="2000" b="1" dirty="0">
                <a:solidFill>
                  <a:srgbClr val="FF0000"/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EUR 561 mln </a:t>
            </a:r>
            <a:r>
              <a:rPr lang="pl-PL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of CAPEX</a:t>
            </a:r>
          </a:p>
        </p:txBody>
      </p:sp>
      <p:sp>
        <p:nvSpPr>
          <p:cNvPr id="31" name="Prostokąt 30">
            <a:extLst>
              <a:ext uri="{FF2B5EF4-FFF2-40B4-BE49-F238E27FC236}">
                <a16:creationId xmlns:a16="http://schemas.microsoft.com/office/drawing/2014/main" id="{E1CED6D8-117D-49AC-88F6-9A8A4F295BDD}"/>
              </a:ext>
            </a:extLst>
          </p:cNvPr>
          <p:cNvSpPr/>
          <p:nvPr/>
        </p:nvSpPr>
        <p:spPr>
          <a:xfrm>
            <a:off x="2346828" y="3975110"/>
            <a:ext cx="3593323" cy="56329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  <a:buClr>
                <a:srgbClr val="C00000"/>
              </a:buClr>
              <a:buSzPct val="120000"/>
            </a:pPr>
            <a:r>
              <a:rPr lang="pl-PL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PGG:</a:t>
            </a:r>
          </a:p>
          <a:p>
            <a:pPr>
              <a:spcAft>
                <a:spcPts val="600"/>
              </a:spcAft>
              <a:buClr>
                <a:srgbClr val="C00000"/>
              </a:buClr>
              <a:buSzPct val="120000"/>
            </a:pPr>
            <a:r>
              <a:rPr lang="pl-PL" sz="2000" b="1" dirty="0">
                <a:solidFill>
                  <a:srgbClr val="FF0000"/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EUR 761 mln </a:t>
            </a:r>
            <a:r>
              <a:rPr lang="pl-PL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for </a:t>
            </a:r>
            <a:r>
              <a:rPr lang="pl-PL" sz="1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local</a:t>
            </a:r>
            <a:r>
              <a:rPr lang="pl-PL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 and </a:t>
            </a:r>
            <a:r>
              <a:rPr lang="pl-PL" sz="1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national</a:t>
            </a:r>
            <a:r>
              <a:rPr lang="pl-PL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pl-PL" sz="1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taxes</a:t>
            </a:r>
            <a:endParaRPr lang="pl-PL" sz="1400" b="1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2" name="Prostokąt 31">
            <a:extLst>
              <a:ext uri="{FF2B5EF4-FFF2-40B4-BE49-F238E27FC236}">
                <a16:creationId xmlns:a16="http://schemas.microsoft.com/office/drawing/2014/main" id="{155BC616-7C15-4B74-8D3C-C20306DA337E}"/>
              </a:ext>
            </a:extLst>
          </p:cNvPr>
          <p:cNvSpPr/>
          <p:nvPr/>
        </p:nvSpPr>
        <p:spPr>
          <a:xfrm>
            <a:off x="5629547" y="2417297"/>
            <a:ext cx="3148297" cy="704042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Clr>
                <a:srgbClr val="C00000"/>
              </a:buClr>
              <a:buSzPct val="120000"/>
            </a:pPr>
            <a:r>
              <a:rPr lang="pl-PL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PGG:</a:t>
            </a:r>
          </a:p>
          <a:p>
            <a:pPr>
              <a:buClr>
                <a:srgbClr val="C00000"/>
              </a:buClr>
              <a:buSzPct val="120000"/>
            </a:pPr>
            <a:r>
              <a:rPr lang="pl-PL" sz="1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salaries</a:t>
            </a:r>
            <a:r>
              <a:rPr lang="pl-PL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pl-PL" sz="2000" b="1" dirty="0">
                <a:solidFill>
                  <a:srgbClr val="FF0000"/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50%</a:t>
            </a:r>
            <a:r>
              <a:rPr lang="pl-PL" sz="1600" b="1" dirty="0">
                <a:solidFill>
                  <a:srgbClr val="FF0000"/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pl-PL" sz="1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higher</a:t>
            </a:r>
            <a:r>
              <a:rPr lang="pl-PL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pl-PL" sz="1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than</a:t>
            </a:r>
            <a:r>
              <a:rPr lang="pl-PL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pl-PL" sz="14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salaries</a:t>
            </a:r>
            <a:r>
              <a:rPr lang="pl-PL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Tahoma" pitchFamily="34" charset="0"/>
                <a:cs typeface="Tahoma" pitchFamily="34" charset="0"/>
              </a:rPr>
              <a:t> in the region</a:t>
            </a:r>
          </a:p>
        </p:txBody>
      </p:sp>
    </p:spTree>
    <p:extLst>
      <p:ext uri="{BB962C8B-B14F-4D97-AF65-F5344CB8AC3E}">
        <p14:creationId xmlns:p14="http://schemas.microsoft.com/office/powerpoint/2010/main" val="1671634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000"/>
                            </p:stCondLst>
                            <p:childTnLst>
                              <p:par>
                                <p:cTn id="31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4500"/>
                            </p:stCondLst>
                            <p:childTnLst>
                              <p:par>
                                <p:cTn id="44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60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75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9000"/>
                            </p:stCondLst>
                            <p:childTnLst>
                              <p:par>
                                <p:cTn id="5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/>
      <p:bldP spid="36" grpId="0"/>
      <p:bldP spid="43" grpId="0"/>
      <p:bldP spid="65" grpId="0" animBg="1"/>
      <p:bldP spid="66" grpId="0" animBg="1"/>
      <p:bldP spid="30" grpId="0" animBg="1"/>
      <p:bldP spid="31" grpId="0" animBg="1"/>
      <p:bldP spid="3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Łącznik prosty 4"/>
          <p:cNvCxnSpPr/>
          <p:nvPr/>
        </p:nvCxnSpPr>
        <p:spPr>
          <a:xfrm>
            <a:off x="859126" y="1"/>
            <a:ext cx="0" cy="52279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ole tekstowe 9"/>
          <p:cNvSpPr txBox="1"/>
          <p:nvPr/>
        </p:nvSpPr>
        <p:spPr>
          <a:xfrm>
            <a:off x="662679" y="1131590"/>
            <a:ext cx="7776864" cy="27515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3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Value chain protection is the most important in the transition process</a:t>
            </a:r>
          </a:p>
          <a:p>
            <a:pPr algn="ctr">
              <a:lnSpc>
                <a:spcPct val="90000"/>
              </a:lnSpc>
            </a:pPr>
            <a:endParaRPr lang="pl-PL" sz="3200" b="1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90000"/>
              </a:lnSpc>
            </a:pPr>
            <a:r>
              <a:rPr lang="en-AU" sz="3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ransition process should be pursued by </a:t>
            </a:r>
            <a:endParaRPr lang="pl-PL" sz="3200" b="1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90000"/>
              </a:lnSpc>
            </a:pPr>
            <a:r>
              <a:rPr lang="en-AU" sz="3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he mining companies which are the main recipient</a:t>
            </a:r>
            <a:r>
              <a:rPr lang="pl-PL" sz="3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</a:t>
            </a:r>
            <a:r>
              <a:rPr lang="en-AU" sz="3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of changes</a:t>
            </a:r>
          </a:p>
        </p:txBody>
      </p:sp>
      <p:pic>
        <p:nvPicPr>
          <p:cNvPr id="8" name="Obraz 7">
            <a:extLst>
              <a:ext uri="{FF2B5EF4-FFF2-40B4-BE49-F238E27FC236}">
                <a16:creationId xmlns:a16="http://schemas.microsoft.com/office/drawing/2014/main" id="{E6E476BC-5FD6-44DF-9144-1A0A3EF2F6E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6325" y="52990"/>
            <a:ext cx="521892" cy="615547"/>
          </a:xfrm>
          <a:prstGeom prst="rect">
            <a:avLst/>
          </a:prstGeom>
        </p:spPr>
      </p:pic>
      <p:sp>
        <p:nvSpPr>
          <p:cNvPr id="6" name="pole tekstowe 5">
            <a:extLst>
              <a:ext uri="{FF2B5EF4-FFF2-40B4-BE49-F238E27FC236}">
                <a16:creationId xmlns:a16="http://schemas.microsoft.com/office/drawing/2014/main" id="{BC165B1A-70FB-4D60-8E78-891FCD25F5D8}"/>
              </a:ext>
            </a:extLst>
          </p:cNvPr>
          <p:cNvSpPr txBox="1"/>
          <p:nvPr/>
        </p:nvSpPr>
        <p:spPr>
          <a:xfrm>
            <a:off x="8777845" y="4866501"/>
            <a:ext cx="3661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>
                <a:latin typeface="Calibri" panose="020F0502020204030204" pitchFamily="34" charset="0"/>
                <a:cs typeface="Calibri" panose="020F0502020204030204" pitchFamily="34" charset="0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280755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500"/>
                            </p:stCondLst>
                            <p:childTnLst>
                              <p:par>
                                <p:cTn id="11" presetID="53" presetClass="entr" presetSubtype="16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53" presetClass="entr" presetSubtype="1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Łącznik prosty 4"/>
          <p:cNvCxnSpPr/>
          <p:nvPr/>
        </p:nvCxnSpPr>
        <p:spPr>
          <a:xfrm>
            <a:off x="859126" y="1"/>
            <a:ext cx="0" cy="52279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ole tekstowe 16"/>
          <p:cNvSpPr txBox="1"/>
          <p:nvPr/>
        </p:nvSpPr>
        <p:spPr>
          <a:xfrm>
            <a:off x="827584" y="274562"/>
            <a:ext cx="7560840" cy="397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>
              <a:lnSpc>
                <a:spcPct val="90000"/>
              </a:lnSpc>
            </a:pPr>
            <a:r>
              <a:rPr lang="pl-PL" sz="2200" b="1" i="0" u="none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GG and</a:t>
            </a:r>
            <a:r>
              <a:rPr lang="pl-PL" sz="2200" b="1" i="0" u="none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pl-PL" sz="2200" b="1" i="0" u="none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ransition</a:t>
            </a:r>
            <a:r>
              <a:rPr lang="pl-PL" sz="2200" b="1" i="0" u="none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pl-PL" sz="2200" b="1" i="0" u="none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– </a:t>
            </a:r>
            <a:r>
              <a:rPr lang="pl-PL" sz="2200" b="1" i="0" u="none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examples</a:t>
            </a:r>
            <a:r>
              <a:rPr lang="pl-PL" sz="2200" b="1" i="0" u="none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of </a:t>
            </a:r>
            <a:r>
              <a:rPr lang="pl-PL" sz="2200" b="1" i="0" u="none" baseline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rojects</a:t>
            </a:r>
            <a:endParaRPr lang="en-GB" sz="2200" b="1" i="0" u="none" baseline="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" name="Prostokąt 2"/>
          <p:cNvSpPr/>
          <p:nvPr/>
        </p:nvSpPr>
        <p:spPr>
          <a:xfrm>
            <a:off x="3563888" y="3154339"/>
            <a:ext cx="238070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l-PL" sz="2400" b="1" cap="small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</a:t>
            </a:r>
            <a:r>
              <a:rPr lang="en-GB" sz="2400" b="1" cap="small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ost</a:t>
            </a:r>
            <a:r>
              <a:rPr lang="en-GB" sz="2400" b="1" cap="small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mining area development</a:t>
            </a:r>
            <a:r>
              <a:rPr lang="pl-PL" sz="2400" b="1" cap="small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(</a:t>
            </a:r>
            <a:r>
              <a:rPr lang="en-AU" sz="2400" b="1" cap="small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welding</a:t>
            </a:r>
            <a:r>
              <a:rPr lang="pl-PL" sz="2400" b="1" cap="small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plant)</a:t>
            </a:r>
            <a:endParaRPr lang="pl-PL" sz="2400" cap="small" dirty="0"/>
          </a:p>
        </p:txBody>
      </p:sp>
      <p:pic>
        <p:nvPicPr>
          <p:cNvPr id="18" name="Obraz 17">
            <a:extLst>
              <a:ext uri="{FF2B5EF4-FFF2-40B4-BE49-F238E27FC236}">
                <a16:creationId xmlns:a16="http://schemas.microsoft.com/office/drawing/2014/main" id="{DE93FFE0-2003-4262-B304-A24932B1E70C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56910" y="1438204"/>
            <a:ext cx="2416730" cy="1440371"/>
          </a:xfrm>
          <a:prstGeom prst="rect">
            <a:avLst/>
          </a:prstGeom>
        </p:spPr>
      </p:pic>
      <p:pic>
        <p:nvPicPr>
          <p:cNvPr id="19" name="Obraz 18" descr="WRP2 z lotu ptaka 2.jpe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489664" y="1437711"/>
            <a:ext cx="2452713" cy="1440526"/>
          </a:xfrm>
          <a:prstGeom prst="rect">
            <a:avLst/>
          </a:prstGeom>
        </p:spPr>
      </p:pic>
      <p:sp>
        <p:nvSpPr>
          <p:cNvPr id="20" name="Prostokąt 19"/>
          <p:cNvSpPr/>
          <p:nvPr/>
        </p:nvSpPr>
        <p:spPr>
          <a:xfrm>
            <a:off x="856910" y="3308227"/>
            <a:ext cx="241673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l-PL" sz="2400" b="1" cap="small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V </a:t>
            </a:r>
          </a:p>
          <a:p>
            <a:pPr algn="ctr"/>
            <a:r>
              <a:rPr lang="pl-PL" sz="2400" b="1" cap="small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project</a:t>
            </a:r>
            <a:endParaRPr lang="pl-PL" sz="2400" cap="small" dirty="0"/>
          </a:p>
        </p:txBody>
      </p:sp>
      <p:sp>
        <p:nvSpPr>
          <p:cNvPr id="22" name="Prostokąt 21"/>
          <p:cNvSpPr/>
          <p:nvPr/>
        </p:nvSpPr>
        <p:spPr>
          <a:xfrm>
            <a:off x="6494037" y="3308227"/>
            <a:ext cx="184899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AU" sz="2400" b="1" cap="small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Gasification project</a:t>
            </a:r>
            <a:endParaRPr lang="en-AU" sz="2400" cap="small" dirty="0"/>
          </a:p>
        </p:txBody>
      </p:sp>
      <p:pic>
        <p:nvPicPr>
          <p:cNvPr id="21" name="Obraz 20">
            <a:extLst>
              <a:ext uri="{FF2B5EF4-FFF2-40B4-BE49-F238E27FC236}">
                <a16:creationId xmlns:a16="http://schemas.microsoft.com/office/drawing/2014/main" id="{BDF199AE-5292-4F5E-BFEF-CB3A481FB28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6325" y="52990"/>
            <a:ext cx="521892" cy="615547"/>
          </a:xfrm>
          <a:prstGeom prst="rect">
            <a:avLst/>
          </a:prstGeom>
        </p:spPr>
      </p:pic>
      <p:sp>
        <p:nvSpPr>
          <p:cNvPr id="11" name="pole tekstowe 10">
            <a:extLst>
              <a:ext uri="{FF2B5EF4-FFF2-40B4-BE49-F238E27FC236}">
                <a16:creationId xmlns:a16="http://schemas.microsoft.com/office/drawing/2014/main" id="{AF060CBD-1F0A-4043-A767-1E575DD997C6}"/>
              </a:ext>
            </a:extLst>
          </p:cNvPr>
          <p:cNvSpPr txBox="1"/>
          <p:nvPr/>
        </p:nvSpPr>
        <p:spPr>
          <a:xfrm>
            <a:off x="8777845" y="4866501"/>
            <a:ext cx="3661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dirty="0">
                <a:latin typeface="Calibri" panose="020F0502020204030204" pitchFamily="34" charset="0"/>
                <a:cs typeface="Calibri" panose="020F0502020204030204" pitchFamily="34" charset="0"/>
              </a:rPr>
              <a:t>9</a:t>
            </a:r>
          </a:p>
        </p:txBody>
      </p:sp>
      <p:pic>
        <p:nvPicPr>
          <p:cNvPr id="12" name="Obraz 11">
            <a:extLst>
              <a:ext uri="{FF2B5EF4-FFF2-40B4-BE49-F238E27FC236}">
                <a16:creationId xmlns:a16="http://schemas.microsoft.com/office/drawing/2014/main" id="{D8DCF385-6644-4DB3-9EB9-A4CC13F669E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60615" y="1438204"/>
            <a:ext cx="2515839" cy="1443019"/>
          </a:xfrm>
          <a:prstGeom prst="rect">
            <a:avLst/>
          </a:prstGeom>
          <a:effectLst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3397064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500"/>
                            </p:stCondLst>
                            <p:childTnLst>
                              <p:par>
                                <p:cTn id="16" presetID="42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42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000"/>
                            </p:stCondLst>
                            <p:childTnLst>
                              <p:par>
                                <p:cTn id="27" presetID="42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20" grpId="0"/>
      <p:bldP spid="2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tyw1">
  <a:themeElements>
    <a:clrScheme name="Custom 1">
      <a:dk1>
        <a:sysClr val="windowText" lastClr="000000"/>
      </a:dk1>
      <a:lt1>
        <a:sysClr val="window" lastClr="FFFFFF"/>
      </a:lt1>
      <a:dk2>
        <a:srgbClr val="3D3D3D"/>
      </a:dk2>
      <a:lt2>
        <a:srgbClr val="EBEBEB"/>
      </a:lt2>
      <a:accent1>
        <a:srgbClr val="540E0E"/>
      </a:accent1>
      <a:accent2>
        <a:srgbClr val="7D1515"/>
      </a:accent2>
      <a:accent3>
        <a:srgbClr val="B41E1E"/>
      </a:accent3>
      <a:accent4>
        <a:srgbClr val="969FA7"/>
      </a:accent4>
      <a:accent5>
        <a:srgbClr val="EF4545"/>
      </a:accent5>
      <a:accent6>
        <a:srgbClr val="F79F9F"/>
      </a:accent6>
      <a:hlink>
        <a:srgbClr val="828282"/>
      </a:hlink>
      <a:folHlink>
        <a:srgbClr val="A5A5A5"/>
      </a:folHlink>
    </a:clrScheme>
    <a:fontScheme name="Office — klasyczny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Dividend">
      <a:fillStyleLst>
        <a:solidFill>
          <a:schemeClr val="phClr"/>
        </a:solidFill>
        <a:gradFill rotWithShape="1">
          <a:gsLst>
            <a:gs pos="0">
              <a:schemeClr val="phClr">
                <a:tint val="68000"/>
                <a:alpha val="90000"/>
                <a:lumMod val="100000"/>
              </a:schemeClr>
            </a:gs>
            <a:gs pos="100000">
              <a:schemeClr val="phClr">
                <a:tint val="90000"/>
                <a:lumMod val="95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98000"/>
                <a:lumMod val="110000"/>
              </a:schemeClr>
            </a:gs>
            <a:gs pos="84000">
              <a:schemeClr val="phClr">
                <a:shade val="90000"/>
                <a:lumMod val="88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>
              <a:lumMod val="90000"/>
            </a:schemeClr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55000"/>
              </a:srgbClr>
            </a:outerShdw>
          </a:effectLst>
        </a:effectStyle>
        <a:effectStyle>
          <a:effectLst>
            <a:outerShdw blurRad="88900" dist="38100" dir="504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1200000"/>
            </a:lightRig>
          </a:scene3d>
          <a:sp3d>
            <a:bevelT w="381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88000">
              <a:schemeClr val="phClr">
                <a:shade val="94000"/>
                <a:satMod val="110000"/>
                <a:lumMod val="8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8000"/>
                <a:satMod val="110000"/>
                <a:lumMod val="8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>
    <a:spDef>
      <a:spPr>
        <a:noFill/>
        <a:ln>
          <a:solidFill>
            <a:srgbClr val="B40E0E"/>
          </a:solidFill>
        </a:ln>
      </a:spPr>
      <a:bodyPr rtlCol="0" anchor="ctr"/>
      <a:lstStyle>
        <a:defPPr algn="ctr">
          <a:defRPr sz="1600" dirty="0" smtClean="0">
            <a:solidFill>
              <a:srgbClr val="540E0E"/>
            </a:solidFill>
            <a:latin typeface="Tahoma" pitchFamily="34" charset="0"/>
            <a:ea typeface="Tahoma" pitchFamily="34" charset="0"/>
            <a:cs typeface="Tahoma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Dividend" id="{9697A71B-4AB7-4A1A-BD5B-BB2D22835B57}" vid="{C21699FF-00E4-43C8-BBCC-D7E5536C3717}"/>
    </a:ext>
  </a:extLst>
</a:theme>
</file>

<file path=ppt/theme/theme2.xml><?xml version="1.0" encoding="utf-8"?>
<a:theme xmlns:a="http://schemas.openxmlformats.org/drawingml/2006/main" name="1_Motyw1">
  <a:themeElements>
    <a:clrScheme name="Custom 1">
      <a:dk1>
        <a:sysClr val="windowText" lastClr="000000"/>
      </a:dk1>
      <a:lt1>
        <a:sysClr val="window" lastClr="FFFFFF"/>
      </a:lt1>
      <a:dk2>
        <a:srgbClr val="3D3D3D"/>
      </a:dk2>
      <a:lt2>
        <a:srgbClr val="EBEBEB"/>
      </a:lt2>
      <a:accent1>
        <a:srgbClr val="540E0E"/>
      </a:accent1>
      <a:accent2>
        <a:srgbClr val="7D1515"/>
      </a:accent2>
      <a:accent3>
        <a:srgbClr val="B41E1E"/>
      </a:accent3>
      <a:accent4>
        <a:srgbClr val="969FA7"/>
      </a:accent4>
      <a:accent5>
        <a:srgbClr val="EF4545"/>
      </a:accent5>
      <a:accent6>
        <a:srgbClr val="F79F9F"/>
      </a:accent6>
      <a:hlink>
        <a:srgbClr val="828282"/>
      </a:hlink>
      <a:folHlink>
        <a:srgbClr val="A5A5A5"/>
      </a:folHlink>
    </a:clrScheme>
    <a:fontScheme name="Office — klasyczny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Dividend">
      <a:fillStyleLst>
        <a:solidFill>
          <a:schemeClr val="phClr"/>
        </a:solidFill>
        <a:gradFill rotWithShape="1">
          <a:gsLst>
            <a:gs pos="0">
              <a:schemeClr val="phClr">
                <a:tint val="68000"/>
                <a:alpha val="90000"/>
                <a:lumMod val="100000"/>
              </a:schemeClr>
            </a:gs>
            <a:gs pos="100000">
              <a:schemeClr val="phClr">
                <a:tint val="90000"/>
                <a:lumMod val="95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98000"/>
                <a:lumMod val="110000"/>
              </a:schemeClr>
            </a:gs>
            <a:gs pos="84000">
              <a:schemeClr val="phClr">
                <a:shade val="90000"/>
                <a:lumMod val="88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>
              <a:lumMod val="90000"/>
            </a:schemeClr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55000"/>
              </a:srgbClr>
            </a:outerShdw>
          </a:effectLst>
        </a:effectStyle>
        <a:effectStyle>
          <a:effectLst>
            <a:outerShdw blurRad="88900" dist="38100" dir="504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1200000"/>
            </a:lightRig>
          </a:scene3d>
          <a:sp3d>
            <a:bevelT w="381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88000">
              <a:schemeClr val="phClr">
                <a:shade val="94000"/>
                <a:satMod val="110000"/>
                <a:lumMod val="8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8000"/>
                <a:satMod val="110000"/>
                <a:lumMod val="8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vidend" id="{9697A71B-4AB7-4A1A-BD5B-BB2D22835B57}" vid="{C21699FF-00E4-43C8-BBCC-D7E5536C3717}"/>
    </a:ext>
  </a:extLst>
</a:theme>
</file>

<file path=ppt/theme/theme3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Pakiet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Pakiet 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Pakiet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7783</TotalTime>
  <Words>484</Words>
  <Application>Microsoft Office PowerPoint</Application>
  <PresentationFormat>Pokaz na ekranie (16:9)</PresentationFormat>
  <Paragraphs>115</Paragraphs>
  <Slides>16</Slides>
  <Notes>16</Notes>
  <HiddenSlides>0</HiddenSlides>
  <MMClips>0</MMClips>
  <ScaleCrop>false</ScaleCrop>
  <HeadingPairs>
    <vt:vector size="8" baseType="variant">
      <vt:variant>
        <vt:lpstr>Używane czcionki</vt:lpstr>
      </vt:variant>
      <vt:variant>
        <vt:i4>5</vt:i4>
      </vt:variant>
      <vt:variant>
        <vt:lpstr>Motyw</vt:lpstr>
      </vt:variant>
      <vt:variant>
        <vt:i4>2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16</vt:i4>
      </vt:variant>
    </vt:vector>
  </HeadingPairs>
  <TitlesOfParts>
    <vt:vector size="24" baseType="lpstr">
      <vt:lpstr>Arial</vt:lpstr>
      <vt:lpstr>Calibri</vt:lpstr>
      <vt:lpstr>Tahoma</vt:lpstr>
      <vt:lpstr>Wingdings</vt:lpstr>
      <vt:lpstr>Wingdings 2</vt:lpstr>
      <vt:lpstr>Motyw1</vt:lpstr>
      <vt:lpstr>1_Motyw1</vt:lpstr>
      <vt:lpstr>think-cell Slide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lska Grupa Górnicza sp. z o.o.</dc:title>
  <dc:creator>Maria Mądrzak</dc:creator>
  <cp:lastModifiedBy>Rafał Patyk</cp:lastModifiedBy>
  <cp:revision>1996</cp:revision>
  <cp:lastPrinted>2019-05-13T08:53:53Z</cp:lastPrinted>
  <dcterms:created xsi:type="dcterms:W3CDTF">2017-01-17T10:58:08Z</dcterms:created>
  <dcterms:modified xsi:type="dcterms:W3CDTF">2019-05-16T07:02:51Z</dcterms:modified>
</cp:coreProperties>
</file>